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9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0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1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2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5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6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0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21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22.xml" ContentType="application/vnd.openxmlformats-officedocument.theme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23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24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25.xml" ContentType="application/vnd.openxmlformats-officedocument.theme+xml"/>
  <Override PartName="/ppt/slideLayouts/slideLayout364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ags/tag2.xml" ContentType="application/vnd.openxmlformats-officedocument.presentationml.tags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30.xml" ContentType="application/vnd.openxmlformats-officedocument.theme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31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32.xml" ContentType="application/vnd.openxmlformats-officedocument.theme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theme/theme33.xml" ContentType="application/vnd.openxmlformats-officedocument.theme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34.xml" ContentType="application/vnd.openxmlformats-officedocument.theme+xml"/>
  <Override PartName="/ppt/theme/theme35.xml" ContentType="application/vnd.openxmlformats-officedocument.theme+xml"/>
  <Override PartName="/ppt/theme/theme3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0" r:id="rId1"/>
    <p:sldMasterId id="2147484047" r:id="rId2"/>
    <p:sldMasterId id="2147484087" r:id="rId3"/>
    <p:sldMasterId id="2147484131" r:id="rId4"/>
    <p:sldMasterId id="2147484145" r:id="rId5"/>
    <p:sldMasterId id="2147484189" r:id="rId6"/>
    <p:sldMasterId id="2147484206" r:id="rId7"/>
    <p:sldMasterId id="2147484226" r:id="rId8"/>
    <p:sldMasterId id="2147484247" r:id="rId9"/>
    <p:sldMasterId id="2147484328" r:id="rId10"/>
    <p:sldMasterId id="2147484345" r:id="rId11"/>
    <p:sldMasterId id="2147484365" r:id="rId12"/>
    <p:sldMasterId id="2147484401" r:id="rId13"/>
    <p:sldMasterId id="2147484426" r:id="rId14"/>
    <p:sldMasterId id="2147484428" r:id="rId15"/>
    <p:sldMasterId id="2147484449" r:id="rId16"/>
    <p:sldMasterId id="2147484491" r:id="rId17"/>
    <p:sldMasterId id="2147484570" r:id="rId18"/>
    <p:sldMasterId id="2147484572" r:id="rId19"/>
    <p:sldMasterId id="2147484611" r:id="rId20"/>
    <p:sldMasterId id="2147484631" r:id="rId21"/>
    <p:sldMasterId id="2147484666" r:id="rId22"/>
    <p:sldMasterId id="2147484708" r:id="rId23"/>
    <p:sldMasterId id="2147484766" r:id="rId24"/>
    <p:sldMasterId id="2147484786" r:id="rId25"/>
    <p:sldMasterId id="2147484819" r:id="rId26"/>
    <p:sldMasterId id="2147484822" r:id="rId27"/>
    <p:sldMasterId id="2147484845" r:id="rId28"/>
    <p:sldMasterId id="2147484975" r:id="rId29"/>
    <p:sldMasterId id="2147485031" r:id="rId30"/>
    <p:sldMasterId id="2147485078" r:id="rId31"/>
    <p:sldMasterId id="2147485093" r:id="rId32"/>
    <p:sldMasterId id="2147485110" r:id="rId33"/>
    <p:sldMasterId id="2147485126" r:id="rId34"/>
  </p:sldMasterIdLst>
  <p:notesMasterIdLst>
    <p:notesMasterId r:id="rId53"/>
  </p:notesMasterIdLst>
  <p:handoutMasterIdLst>
    <p:handoutMasterId r:id="rId54"/>
  </p:handoutMasterIdLst>
  <p:sldIdLst>
    <p:sldId id="3046" r:id="rId35"/>
    <p:sldId id="3154" r:id="rId36"/>
    <p:sldId id="3078" r:id="rId37"/>
    <p:sldId id="3155" r:id="rId38"/>
    <p:sldId id="3156" r:id="rId39"/>
    <p:sldId id="3115" r:id="rId40"/>
    <p:sldId id="3148" r:id="rId41"/>
    <p:sldId id="3151" r:id="rId42"/>
    <p:sldId id="3149" r:id="rId43"/>
    <p:sldId id="3152" r:id="rId44"/>
    <p:sldId id="3150" r:id="rId45"/>
    <p:sldId id="3153" r:id="rId46"/>
    <p:sldId id="3157" r:id="rId47"/>
    <p:sldId id="3158" r:id="rId48"/>
    <p:sldId id="3159" r:id="rId49"/>
    <p:sldId id="3160" r:id="rId50"/>
    <p:sldId id="3161" r:id="rId51"/>
    <p:sldId id="3162" r:id="rId52"/>
  </p:sldIdLst>
  <p:sldSz cx="12241213" cy="7200900"/>
  <p:notesSz cx="6735763" cy="9866313"/>
  <p:defaultTextStyle>
    <a:defPPr>
      <a:defRPr lang="zh-CN"/>
    </a:defPPr>
    <a:lvl1pPr marL="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55038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110063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6510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22013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75166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330196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85230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440268" algn="l" defTabSz="1110063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8" userDrawn="1">
          <p15:clr>
            <a:srgbClr val="A4A3A4"/>
          </p15:clr>
        </p15:guide>
        <p15:guide id="2" pos="38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,Xinyan(BizOps)" initials="W" lastIdx="2" clrIdx="0">
    <p:extLst/>
  </p:cmAuthor>
  <p:cmAuthor id="2" name="Wang,Zhen(MMS)" initials="W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78B4"/>
    <a:srgbClr val="7690AF"/>
    <a:srgbClr val="385D8A"/>
    <a:srgbClr val="2416E3"/>
    <a:srgbClr val="4BACC6"/>
    <a:srgbClr val="E6B9B8"/>
    <a:srgbClr val="36B1D2"/>
    <a:srgbClr val="FFFFFF"/>
    <a:srgbClr val="F2F2F2"/>
    <a:srgbClr val="DBEE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439" autoAdjust="0"/>
    <p:restoredTop sz="95271" autoAdjust="0"/>
  </p:normalViewPr>
  <p:slideViewPr>
    <p:cSldViewPr snapToObjects="1">
      <p:cViewPr varScale="1">
        <p:scale>
          <a:sx n="107" d="100"/>
          <a:sy n="107" d="100"/>
        </p:scale>
        <p:origin x="328" y="168"/>
      </p:cViewPr>
      <p:guideLst>
        <p:guide orient="horz" pos="2268"/>
        <p:guide pos="38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Objects="1">
      <p:cViewPr varScale="1">
        <p:scale>
          <a:sx n="54" d="100"/>
          <a:sy n="54" d="100"/>
        </p:scale>
        <p:origin x="2796" y="4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50" Type="http://schemas.openxmlformats.org/officeDocument/2006/relationships/slide" Target="slides/slide16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59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7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2.xml"/><Relationship Id="rId49" Type="http://schemas.openxmlformats.org/officeDocument/2006/relationships/slide" Target="slides/slide15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0.xml"/><Relationship Id="rId52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509C9B-838A-E64F-8B9D-03A9D5D615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zh-CN" altLang="en-US"/>
        </a:p>
      </dgm:t>
    </dgm:pt>
    <dgm:pt modelId="{D08716CE-421A-8F4A-A3CE-2A585DD21BE2}">
      <dgm:prSet/>
      <dgm:spPr/>
      <dgm:t>
        <a:bodyPr/>
        <a:lstStyle/>
        <a:p>
          <a:r>
            <a:rPr kumimoji="1" lang="en-US" dirty="0"/>
            <a:t>Go</a:t>
          </a:r>
          <a:r>
            <a:rPr kumimoji="1" lang="zh-CN" dirty="0"/>
            <a:t>服务预期能够节省</a:t>
          </a:r>
          <a:r>
            <a:rPr kumimoji="1" lang="en-US" dirty="0"/>
            <a:t>60%</a:t>
          </a:r>
          <a:r>
            <a:rPr kumimoji="1" lang="zh-CN" dirty="0"/>
            <a:t>机器资源，有效降低服务运维成本</a:t>
          </a:r>
          <a:endParaRPr lang="zh-CN" dirty="0"/>
        </a:p>
      </dgm:t>
    </dgm:pt>
    <dgm:pt modelId="{52A02377-5ED1-2D4E-BC57-9AC9C7637A6F}" type="parTrans" cxnId="{DB19CF12-A580-B74B-B8E9-306274B376B8}">
      <dgm:prSet/>
      <dgm:spPr/>
      <dgm:t>
        <a:bodyPr/>
        <a:lstStyle/>
        <a:p>
          <a:endParaRPr lang="zh-CN" altLang="en-US"/>
        </a:p>
      </dgm:t>
    </dgm:pt>
    <dgm:pt modelId="{AED877F1-1710-4040-B31C-37FB3F59E80E}" type="sibTrans" cxnId="{DB19CF12-A580-B74B-B8E9-306274B376B8}">
      <dgm:prSet/>
      <dgm:spPr/>
      <dgm:t>
        <a:bodyPr/>
        <a:lstStyle/>
        <a:p>
          <a:endParaRPr lang="zh-CN" altLang="en-US"/>
        </a:p>
      </dgm:t>
    </dgm:pt>
    <dgm:pt modelId="{AEE1901D-54CF-6742-8C1C-0B3F7E38617D}" type="pres">
      <dgm:prSet presAssocID="{9A509C9B-838A-E64F-8B9D-03A9D5D61503}" presName="linear" presStyleCnt="0">
        <dgm:presLayoutVars>
          <dgm:animLvl val="lvl"/>
          <dgm:resizeHandles val="exact"/>
        </dgm:presLayoutVars>
      </dgm:prSet>
      <dgm:spPr/>
    </dgm:pt>
    <dgm:pt modelId="{D2DEA70E-436F-4D40-B78D-E74745BC6C17}" type="pres">
      <dgm:prSet presAssocID="{D08716CE-421A-8F4A-A3CE-2A585DD21BE2}" presName="parentText" presStyleLbl="node1" presStyleIdx="0" presStyleCnt="1" custLinFactNeighborY="32266">
        <dgm:presLayoutVars>
          <dgm:chMax val="0"/>
          <dgm:bulletEnabled val="1"/>
        </dgm:presLayoutVars>
      </dgm:prSet>
      <dgm:spPr/>
    </dgm:pt>
  </dgm:ptLst>
  <dgm:cxnLst>
    <dgm:cxn modelId="{DB19CF12-A580-B74B-B8E9-306274B376B8}" srcId="{9A509C9B-838A-E64F-8B9D-03A9D5D61503}" destId="{D08716CE-421A-8F4A-A3CE-2A585DD21BE2}" srcOrd="0" destOrd="0" parTransId="{52A02377-5ED1-2D4E-BC57-9AC9C7637A6F}" sibTransId="{AED877F1-1710-4040-B31C-37FB3F59E80E}"/>
    <dgm:cxn modelId="{5F863A35-79AB-E244-9064-51BCF913DAEF}" type="presOf" srcId="{D08716CE-421A-8F4A-A3CE-2A585DD21BE2}" destId="{D2DEA70E-436F-4D40-B78D-E74745BC6C17}" srcOrd="0" destOrd="0" presId="urn:microsoft.com/office/officeart/2005/8/layout/vList2"/>
    <dgm:cxn modelId="{524FA1D0-990F-8947-9FB2-4EC38B101AE0}" type="presOf" srcId="{9A509C9B-838A-E64F-8B9D-03A9D5D61503}" destId="{AEE1901D-54CF-6742-8C1C-0B3F7E38617D}" srcOrd="0" destOrd="0" presId="urn:microsoft.com/office/officeart/2005/8/layout/vList2"/>
    <dgm:cxn modelId="{5B2A236A-1BB7-4945-8C86-46BE0935D08A}" type="presParOf" srcId="{AEE1901D-54CF-6742-8C1C-0B3F7E38617D}" destId="{D2DEA70E-436F-4D40-B78D-E74745BC6C1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DEA70E-436F-4D40-B78D-E74745BC6C17}">
      <dsp:nvSpPr>
        <dsp:cNvPr id="0" name=""/>
        <dsp:cNvSpPr/>
      </dsp:nvSpPr>
      <dsp:spPr>
        <a:xfrm>
          <a:off x="0" y="284938"/>
          <a:ext cx="5435029" cy="4650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en-US" sz="1500" kern="1200" dirty="0"/>
            <a:t>Go</a:t>
          </a:r>
          <a:r>
            <a:rPr kumimoji="1" lang="zh-CN" sz="1500" kern="1200" dirty="0"/>
            <a:t>服务预期能够节省</a:t>
          </a:r>
          <a:r>
            <a:rPr kumimoji="1" lang="en-US" sz="1500" kern="1200" dirty="0"/>
            <a:t>60%</a:t>
          </a:r>
          <a:r>
            <a:rPr kumimoji="1" lang="zh-CN" sz="1500" kern="1200" dirty="0"/>
            <a:t>机器资源，有效降低服务运维成本</a:t>
          </a:r>
          <a:endParaRPr lang="zh-CN" sz="1500" kern="1200" dirty="0"/>
        </a:p>
      </dsp:txBody>
      <dsp:txXfrm>
        <a:off x="22703" y="307641"/>
        <a:ext cx="5389623" cy="4196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A01C1B-632D-489D-8079-940FD7831BFA}" type="datetimeFigureOut">
              <a:rPr lang="zh-CN" altLang="en-US" smtClean="0"/>
              <a:t>2019/12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CC23EC-5141-4B96-9AD0-97A0A5C9B9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2248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5AF16F-E175-4AE0-9B90-9D4FB4FF913E}" type="datetimeFigureOut">
              <a:rPr lang="zh-CN" altLang="en-US" smtClean="0"/>
              <a:pPr/>
              <a:t>2019/12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23838" y="739775"/>
            <a:ext cx="62880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D7ADD-A65F-4384-B80E-AA601445822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7473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55038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10063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66510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22013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775166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330196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885230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440268" algn="l" defTabSz="11100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1893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9272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52359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4492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9592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9468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24343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90067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91444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8196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399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7355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117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60594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14155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2787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55731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0124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5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67634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 rot="2414077">
            <a:off x="10790391" y="401283"/>
            <a:ext cx="158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4" rIns="91430" bIns="45714" rtlCol="0" anchor="ctr"/>
          <a:lstStyle/>
          <a:p>
            <a:pPr algn="ctr"/>
            <a:r>
              <a:rPr lang="en-US" altLang="zh-CN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lang="zh-CN" altLang="en-US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41786"/>
            <a:ext cx="12017677" cy="534328"/>
          </a:xfrm>
          <a:prstGeom prst="rect">
            <a:avLst/>
          </a:prstGeom>
          <a:noFill/>
        </p:spPr>
        <p:txBody>
          <a:bodyPr lIns="87046" tIns="43524" rIns="87046" bIns="43524" anchor="ctr">
            <a:noAutofit/>
          </a:bodyPr>
          <a:lstStyle>
            <a:lvl1pPr algn="l">
              <a:defRPr sz="32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42662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/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6" b="1" dirty="0">
                <a:solidFill>
                  <a:prstClr val="white"/>
                </a:solidFill>
                <a:latin typeface="微软雅黑" panose="020B0503020204020204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859633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967395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42201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8018952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42868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090115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6421208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4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30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3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4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6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4978472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1651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650464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400452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379090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7098832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75039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7869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09793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398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36682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</a:ln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/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/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5130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1398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5045537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80707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6945959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39818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50144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3722393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58548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644608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360135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77117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72239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348925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|| 朴素的标题&amp;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8984" y="288371"/>
            <a:ext cx="11017092" cy="791800"/>
          </a:xfrm>
          <a:prstGeom prst="rect">
            <a:avLst/>
          </a:prstGeom>
        </p:spPr>
        <p:txBody>
          <a:bodyPr/>
          <a:lstStyle>
            <a:lvl1pPr algn="l">
              <a:defRPr sz="4284" b="1" spc="402">
                <a:solidFill>
                  <a:schemeClr val="bg1">
                    <a:lumMod val="50000"/>
                  </a:schemeClr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8984" y="1080170"/>
            <a:ext cx="11017092" cy="505469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pc="0">
                <a:solidFill>
                  <a:srgbClr val="70001F"/>
                </a:solidFill>
                <a:latin typeface="微软雅黑"/>
                <a:ea typeface="微软雅黑"/>
                <a:cs typeface="微软雅黑"/>
              </a:defRPr>
            </a:lvl1pPr>
            <a:lvl2pPr marL="1224047" indent="-612023">
              <a:lnSpc>
                <a:spcPct val="100000"/>
              </a:lnSpc>
              <a:buFont typeface="Arial"/>
              <a:buChar char="•"/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2pPr>
            <a:lvl3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3pPr>
            <a:lvl4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4pPr>
            <a:lvl5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5pPr>
          </a:lstStyle>
          <a:p>
            <a:pPr lvl="0"/>
            <a:r>
              <a:rPr kumimoji="1" lang="zh-CN" altLang="en-US" dirty="0"/>
              <a:t> </a:t>
            </a:r>
            <a:r>
              <a:rPr kumimoji="1" lang="en-US" altLang="zh-CN" dirty="0"/>
              <a:t>	</a:t>
            </a:r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1" y="6674168"/>
            <a:ext cx="1459821" cy="4546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fld id="{E51EE6DE-BDED-42FA-BA75-78CE9C2E16CB}" type="datetime10">
              <a:rPr lang="zh-CN" altLang="en-US" smtClean="0"/>
              <a:pPr/>
              <a:t>10:17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2071882" y="6646225"/>
            <a:ext cx="3876384" cy="5070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页脚内容</a:t>
            </a:r>
          </a:p>
        </p:txBody>
      </p:sp>
    </p:spTree>
    <p:extLst>
      <p:ext uri="{BB962C8B-B14F-4D97-AF65-F5344CB8AC3E}">
        <p14:creationId xmlns:p14="http://schemas.microsoft.com/office/powerpoint/2010/main" val="12130966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1837880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76441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8144310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954486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551659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425766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583988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3749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470642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4248538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793905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84985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9712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50633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8137825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90983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2695450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0B1C2-25D1-49D7-B3E6-BD8961197B2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180DC-24E0-4EA9-99FD-E514C61A205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1" y="0"/>
            <a:ext cx="222965" cy="507492"/>
          </a:xfrm>
          <a:prstGeom prst="rect">
            <a:avLst/>
          </a:prstGeom>
          <a:solidFill>
            <a:srgbClr val="E10500"/>
          </a:solidFill>
          <a:ln>
            <a:solidFill>
              <a:srgbClr val="E10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507492"/>
            <a:ext cx="222965" cy="507492"/>
          </a:xfrm>
          <a:prstGeom prst="rect">
            <a:avLst/>
          </a:prstGeom>
          <a:solidFill>
            <a:srgbClr val="2319DC"/>
          </a:solidFill>
          <a:ln>
            <a:solidFill>
              <a:srgbClr val="2319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371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813234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8136144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8944099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144078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9222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87905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9397282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039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162955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5986149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5746011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8833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584834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81311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5433000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51792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9061239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241377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4739011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100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872275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2213213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9481502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93256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038079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5357906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8622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6539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4175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8172904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324520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1458159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39633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12949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95430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966034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4960619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55459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199481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7009089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486350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00189463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227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2923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840855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7625520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31091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9485593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3685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82679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40651768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690210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34982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5648527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304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6720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1770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6329261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/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6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6586792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7433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19907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424091340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2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352545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722"/>
            </a:lvl6pPr>
            <a:lvl7pPr>
              <a:defRPr sz="1722"/>
            </a:lvl7pPr>
            <a:lvl8pPr>
              <a:defRPr sz="1722"/>
            </a:lvl8pPr>
            <a:lvl9pPr>
              <a:defRPr sz="17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2" b="0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7518193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2"/>
            </a:lvl2pPr>
            <a:lvl3pPr>
              <a:defRPr sz="1531"/>
            </a:lvl3pPr>
            <a:lvl4pPr>
              <a:defRPr sz="1340"/>
            </a:lvl4pPr>
            <a:lvl5pPr>
              <a:defRPr sz="1340"/>
            </a:lvl5pPr>
            <a:lvl6pPr>
              <a:defRPr sz="1531"/>
            </a:lvl6pPr>
            <a:lvl7pPr>
              <a:defRPr sz="1531"/>
            </a:lvl7pPr>
            <a:lvl8pPr>
              <a:defRPr sz="1531"/>
            </a:lvl8pPr>
            <a:lvl9pPr>
              <a:defRPr sz="153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862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6545894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2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107442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18236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2062" y="6674168"/>
            <a:ext cx="2856283" cy="38338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2415" y="6674168"/>
            <a:ext cx="3876384" cy="383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273441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8036194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270080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6929009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60821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27391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543049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651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2360825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标题和内容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241213" cy="7200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975" tIns="59488" rIns="118975" bIns="59488" rtlCol="0" anchor="ctr"/>
          <a:lstStyle/>
          <a:p>
            <a:pPr algn="ctr" defTabSz="1060867"/>
            <a:endParaRPr lang="zh-CN" altLang="en-US" sz="2103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0"/>
            <a:ext cx="12241213" cy="72013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975" tIns="59488" rIns="118975" bIns="59488" rtlCol="0" anchor="ctr"/>
          <a:lstStyle/>
          <a:p>
            <a:pPr algn="ctr" defTabSz="1060867"/>
            <a:endParaRPr lang="zh-CN" altLang="en-US" sz="2103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87958" y="86436"/>
            <a:ext cx="11017092" cy="547261"/>
          </a:xfrm>
          <a:prstGeom prst="rect">
            <a:avLst/>
          </a:prstGeom>
        </p:spPr>
        <p:txBody>
          <a:bodyPr lIns="124402" tIns="62202" rIns="124402" bIns="62202">
            <a:noAutofit/>
          </a:bodyPr>
          <a:lstStyle>
            <a:lvl1pPr algn="l">
              <a:defRPr sz="19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3" name="矩形 2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6" name="矩形 5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8" name="文本框 7"/>
          <p:cNvSpPr txBox="1"/>
          <p:nvPr userDrawn="1"/>
        </p:nvSpPr>
        <p:spPr>
          <a:xfrm>
            <a:off x="11217594" y="6621519"/>
            <a:ext cx="1044724" cy="399766"/>
          </a:xfrm>
          <a:prstGeom prst="rect">
            <a:avLst/>
          </a:prstGeom>
          <a:noFill/>
        </p:spPr>
        <p:txBody>
          <a:bodyPr wrap="square" lIns="118975" tIns="59488" rIns="118975" bIns="59488" rtlCol="0">
            <a:spAutoFit/>
          </a:bodyPr>
          <a:lstStyle/>
          <a:p>
            <a:pPr algn="ctr" defTabSz="1060867"/>
            <a:fld id="{4434E472-F95D-422C-AA1E-FBC5F38D882C}" type="slidenum">
              <a:rPr lang="zh-CN" altLang="en-US" sz="1817">
                <a:solidFill>
                  <a:prstClr val="black"/>
                </a:solidFill>
              </a:rPr>
              <a:pPr algn="ctr" defTabSz="1060867"/>
              <a:t>‹#›</a:t>
            </a:fld>
            <a:endParaRPr lang="zh-CN" altLang="en-US" sz="1817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306727"/>
      </p:ext>
    </p:extLst>
  </p:cSld>
  <p:clrMapOvr>
    <a:masterClrMapping/>
  </p:clrMapOvr>
  <p:hf hdr="0" dt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0867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398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1267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162922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7448429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4492902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218709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6283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864646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0749222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75319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043092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6565193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59110032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19131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548967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49518591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61171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76983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90665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7928969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36106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4401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5659836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661922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3687186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6290927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935766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3750871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7108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856465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3486206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279937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83912353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3444252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783706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17226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89233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481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01513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8333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466759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12061" y="198072"/>
            <a:ext cx="11017092" cy="52925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13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2061" y="1222083"/>
            <a:ext cx="11017092" cy="5705140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1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内容标题一</a:t>
            </a:r>
            <a:endParaRPr lang="en-US" altLang="zh-CN" dirty="0"/>
          </a:p>
          <a:p>
            <a:pPr lvl="0"/>
            <a:r>
              <a:rPr lang="zh-CN" altLang="en-US" dirty="0"/>
              <a:t>内容标题二</a:t>
            </a:r>
            <a:endParaRPr lang="en-US" altLang="zh-CN" dirty="0"/>
          </a:p>
          <a:p>
            <a:pPr lvl="0"/>
            <a:r>
              <a:rPr lang="zh-CN" altLang="en-US" dirty="0"/>
              <a:t>内容标题三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9687341" y="46855"/>
            <a:ext cx="2427235" cy="756084"/>
            <a:chOff x="7330892" y="-20538"/>
            <a:chExt cx="1813108" cy="720080"/>
          </a:xfrm>
        </p:grpSpPr>
        <p:pic>
          <p:nvPicPr>
            <p:cNvPr id="5" name="Picture 7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330892" y="103240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矩形 5"/>
            <p:cNvSpPr/>
            <p:nvPr userDrawn="1"/>
          </p:nvSpPr>
          <p:spPr>
            <a:xfrm>
              <a:off x="7771884" y="-20538"/>
              <a:ext cx="1372116" cy="7200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8058"/>
              <a:r>
                <a:rPr lang="en-US" altLang="zh-CN" sz="1807" b="1" dirty="0">
                  <a:solidFill>
                    <a:srgbClr val="5893D8"/>
                  </a:solidFill>
                  <a:latin typeface="Arial" pitchFamily="34" charset="0"/>
                  <a:ea typeface="Arial Unicode MS" pitchFamily="34" charset="-122"/>
                  <a:cs typeface="Arial" pitchFamily="34" charset="0"/>
                </a:rPr>
                <a:t>UBS</a:t>
              </a:r>
            </a:p>
            <a:p>
              <a:pPr defTabSz="918058"/>
              <a:r>
                <a:rPr lang="zh-CN" altLang="en-US" sz="1104" b="1" dirty="0">
                  <a:solidFill>
                    <a:srgbClr val="5893D8"/>
                  </a:solidFill>
                  <a:latin typeface="微软雅黑" pitchFamily="34" charset="-122"/>
                </a:rPr>
                <a:t>百度用户行为研究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72058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4941360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1096734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801183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4028340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4667813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37263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34669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846326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12764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0115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3269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593048"/>
      </p:ext>
    </p:extLst>
  </p:cSld>
  <p:clrMapOvr>
    <a:masterClrMapping/>
  </p:clrMapOvr>
  <p:transition spd="med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98896830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37823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83828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7309958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311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2140649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3051736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21660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1409913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238867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907404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5496534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2782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675116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6928700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04275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626741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802149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2567369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0811856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55867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00012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6245542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36634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6829475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6589801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9026414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25326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015368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90708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3082675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74183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889538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9957006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8422570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987594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84332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9797289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5722822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6815968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52850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88368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549591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625865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7262387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8040591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53295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206468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636544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60414321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78806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406679"/>
      </p:ext>
    </p:extLst>
  </p:cSld>
  <p:clrMapOvr>
    <a:masterClrMapping/>
  </p:clrMapOvr>
  <p:transition spd="med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88647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8158583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15292879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74737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78201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115356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6000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44194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4933461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5843344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7490692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05956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7447271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8150056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7010105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9827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409199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304550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166214"/>
      </p:ext>
    </p:extLst>
  </p:cSld>
  <p:clrMapOvr>
    <a:masterClrMapping/>
  </p:clrMapOvr>
  <p:transition spd="med"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36116051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58558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447705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83670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98877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2331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6784318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817338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125596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1011624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9140968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053046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39415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223934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60349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573896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61341675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290519"/>
      </p:ext>
    </p:extLst>
  </p:cSld>
  <p:clrMapOvr>
    <a:masterClrMapping/>
  </p:clrMapOvr>
  <p:transition spd="med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002036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85309253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25571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38401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5558747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9143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9184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812490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018640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019725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9233880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403880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770496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0353124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23019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745725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895989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78862"/>
      </p:ext>
    </p:extLst>
  </p:cSld>
  <p:clrMapOvr>
    <a:masterClrMapping/>
  </p:clrMapOvr>
  <p:transition spd="med"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4346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24567380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5094208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1905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13645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12061" y="198072"/>
            <a:ext cx="11017092" cy="52925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13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这里是标题区域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2061" y="1222083"/>
            <a:ext cx="11017092" cy="5705140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1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内容标题一</a:t>
            </a:r>
            <a:endParaRPr lang="en-US" altLang="zh-CN" dirty="0"/>
          </a:p>
          <a:p>
            <a:pPr lvl="0"/>
            <a:r>
              <a:rPr lang="zh-CN" altLang="en-US" dirty="0"/>
              <a:t>内容标题二</a:t>
            </a:r>
            <a:endParaRPr lang="en-US" altLang="zh-CN" dirty="0"/>
          </a:p>
          <a:p>
            <a:pPr lvl="0"/>
            <a:r>
              <a:rPr lang="zh-CN" altLang="en-US" dirty="0"/>
              <a:t>内容标题三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9687341" y="46855"/>
            <a:ext cx="2427235" cy="756084"/>
            <a:chOff x="7330892" y="-20538"/>
            <a:chExt cx="1813108" cy="720080"/>
          </a:xfrm>
        </p:grpSpPr>
        <p:pic>
          <p:nvPicPr>
            <p:cNvPr id="5" name="Picture 7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0892" y="103240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矩形 5"/>
            <p:cNvSpPr/>
            <p:nvPr userDrawn="1"/>
          </p:nvSpPr>
          <p:spPr>
            <a:xfrm>
              <a:off x="7771884" y="-20538"/>
              <a:ext cx="1372116" cy="7200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8058"/>
              <a:r>
                <a:rPr lang="en-US" altLang="zh-CN" sz="1807" b="1" dirty="0">
                  <a:solidFill>
                    <a:srgbClr val="5893D8"/>
                  </a:solidFill>
                  <a:latin typeface="Arial" pitchFamily="34" charset="0"/>
                  <a:ea typeface="Arial Unicode MS" pitchFamily="34" charset="-122"/>
                  <a:cs typeface="Arial" pitchFamily="34" charset="0"/>
                </a:rPr>
                <a:t>UBS</a:t>
              </a:r>
            </a:p>
            <a:p>
              <a:pPr defTabSz="918058"/>
              <a:r>
                <a:rPr lang="zh-CN" altLang="en-US" sz="1104" b="1" dirty="0">
                  <a:solidFill>
                    <a:srgbClr val="5893D8"/>
                  </a:solidFill>
                  <a:latin typeface="微软雅黑" pitchFamily="34" charset="-122"/>
                </a:rPr>
                <a:t>百度用户行为研究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771819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 rot="2414077">
            <a:off x="10790391" y="401282"/>
            <a:ext cx="1584000" cy="324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rgbClr val="4F81BD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lang="zh-CN" altLang="en-US" dirty="0">
              <a:solidFill>
                <a:srgbClr val="4F81BD">
                  <a:lumMod val="7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1" y="41786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200" b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775824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5442500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0163826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3563383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520149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273341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16324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8052312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02656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994287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391427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0617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8472862"/>
      </p:ext>
    </p:extLst>
  </p:cSld>
  <p:clrMapOvr>
    <a:masterClrMapping/>
  </p:clrMapOvr>
  <p:transition spd="med"/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2048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157925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61653367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276665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7959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0042791"/>
      </p:ext>
    </p:extLst>
  </p:cSld>
  <p:clrMapOvr>
    <a:masterClrMapping/>
  </p:clrMapOvr>
  <p:transition spd="med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4289363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8184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0785481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3983014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3213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372604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70701972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40640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6472271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0298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434316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106072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641417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6377050"/>
      </p:ext>
    </p:extLst>
  </p:cSld>
  <p:clrMapOvr>
    <a:masterClrMapping/>
  </p:clrMapOvr>
  <p:transition spd="med"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83703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1108848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20324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02998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37651764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48625762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7470245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1325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35841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479644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0998387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9181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2850056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637803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45678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8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9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9880418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2062" y="6674168"/>
            <a:ext cx="2856283" cy="38338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2415" y="6674168"/>
            <a:ext cx="3876384" cy="383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02971"/>
      </p:ext>
    </p:extLst>
  </p:cSld>
  <p:clrMapOvr>
    <a:masterClrMapping/>
  </p:clrMapOvr>
  <p:transition spd="med"/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9010309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4317475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842153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491074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252986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42992892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58054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270E79FD-C402-4CC3-9A82-BAE1DCDFB089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8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80" y="6674178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877855"/>
            <a:fld id="{9C3BABE4-52A5-4B0F-907F-4727857335A2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356822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4781503"/>
      </p:ext>
    </p:extLst>
  </p:cSld>
  <p:clrMapOvr>
    <a:masterClrMapping/>
  </p:clrMapOvr>
  <p:transition spd="med"/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1959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152626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221128158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375683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500622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1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48242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59024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136626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2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AEFAF4BF-354F-435D-A573-8897D9A086D9}" type="datetimeFigureOut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2019/12/24</a:t>
            </a:fld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2415" y="6674169"/>
            <a:ext cx="3876384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endParaRPr lang="zh-CN" altLang="en-US" sz="2103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869" y="6674169"/>
            <a:ext cx="2856283" cy="383381"/>
          </a:xfrm>
          <a:prstGeom prst="rect">
            <a:avLst/>
          </a:prstGeom>
        </p:spPr>
        <p:txBody>
          <a:bodyPr lIns="111090" tIns="55545" rIns="111090" bIns="5554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 defTabSz="1061453">
              <a:defRPr/>
            </a:pPr>
            <a:fld id="{32D3F360-65AA-4F0E-BA29-762107DBB9F8}" type="slidenum">
              <a:rPr lang="zh-CN" altLang="en-US" sz="2103" smtClean="0">
                <a:solidFill>
                  <a:prstClr val="black"/>
                </a:solidFill>
              </a:rPr>
              <a:pPr defTabSz="1061453">
                <a:defRPr/>
              </a:pPr>
              <a:t>‹#›</a:t>
            </a:fld>
            <a:endParaRPr lang="zh-CN" altLang="en-US" sz="2103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98664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48020624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43653666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7361912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9119510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662040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06457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26501019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4377958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8091" y="2800350"/>
            <a:ext cx="10507041" cy="15201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7714" tIns="0" rIns="165256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819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5013374" y="4320540"/>
            <a:ext cx="1107234" cy="16002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480" y="1040131"/>
            <a:ext cx="2550253" cy="6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120607" y="4320540"/>
            <a:ext cx="1107235" cy="16002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80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97535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87265318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79390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12062" y="288370"/>
            <a:ext cx="11017092" cy="611725"/>
          </a:xfrm>
          <a:prstGeom prst="rect">
            <a:avLst/>
          </a:prstGeom>
        </p:spPr>
        <p:txBody>
          <a:bodyPr lIns="91418" tIns="45710" rIns="91418" bIns="45710" anchor="ctr" anchorCtr="0"/>
          <a:lstStyle>
            <a:lvl1pPr algn="l">
              <a:defRPr sz="3024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12062" y="1060008"/>
            <a:ext cx="11017092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15187" tIns="57595" rIns="115187" bIns="57595"/>
          <a:lstStyle/>
          <a:p>
            <a:pPr>
              <a:defRPr/>
            </a:pPr>
            <a:endParaRPr lang="zh-CN" altLang="en-US" sz="2772">
              <a:latin typeface="+mj-ea"/>
              <a:ea typeface="+mj-ea"/>
            </a:endParaRP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12067" y="6790966"/>
            <a:ext cx="8496886" cy="334168"/>
          </a:xfrm>
          <a:prstGeom prst="rect">
            <a:avLst/>
          </a:prstGeom>
        </p:spPr>
        <p:txBody>
          <a:bodyPr lIns="76170" tIns="38085" rIns="76170" bIns="38085" anchor="ctr"/>
          <a:lstStyle>
            <a:lvl1pPr marL="0" indent="0">
              <a:buNone/>
              <a:tabLst/>
              <a:defRPr kumimoji="0" lang="zh-CN" altLang="en-US" sz="126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  <p:extLst>
      <p:ext uri="{BB962C8B-B14F-4D97-AF65-F5344CB8AC3E}">
        <p14:creationId xmlns:p14="http://schemas.microsoft.com/office/powerpoint/2010/main" val="296144593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>
            <a:spLocks noGrp="1"/>
          </p:cNvSpPr>
          <p:nvPr>
            <p:ph type="ctrTitle"/>
          </p:nvPr>
        </p:nvSpPr>
        <p:spPr>
          <a:xfrm>
            <a:off x="1" y="2466326"/>
            <a:ext cx="12241213" cy="680476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5836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9"/>
          <p:cNvSpPr>
            <a:spLocks noGrp="1"/>
          </p:cNvSpPr>
          <p:nvPr>
            <p:ph type="body" sz="quarter" idx="10"/>
          </p:nvPr>
        </p:nvSpPr>
        <p:spPr>
          <a:xfrm>
            <a:off x="0" y="3524845"/>
            <a:ext cx="12241213" cy="6796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53" b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9415536" y="295327"/>
            <a:ext cx="1412113" cy="6328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063" tIns="43032" rIns="86063" bIns="43032" rtlCol="0" anchor="ctr"/>
          <a:lstStyle/>
          <a:p>
            <a:pPr algn="ctr"/>
            <a:endParaRPr lang="zh-CN" altLang="en-US" sz="2071"/>
          </a:p>
        </p:txBody>
      </p:sp>
    </p:spTree>
    <p:extLst>
      <p:ext uri="{BB962C8B-B14F-4D97-AF65-F5344CB8AC3E}">
        <p14:creationId xmlns:p14="http://schemas.microsoft.com/office/powerpoint/2010/main" val="339790499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12062" y="288370"/>
            <a:ext cx="11017092" cy="61172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3024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12062" y="1060008"/>
            <a:ext cx="11017092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115201" tIns="57601" rIns="115201" bIns="57601"/>
          <a:lstStyle/>
          <a:p>
            <a:pPr>
              <a:defRPr/>
            </a:pPr>
            <a:endParaRPr lang="zh-CN" altLang="en-US" sz="2772">
              <a:latin typeface="+mj-ea"/>
              <a:ea typeface="+mj-ea"/>
            </a:endParaRP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612066" y="6790966"/>
            <a:ext cx="8496886" cy="334168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26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  <p:extLst>
      <p:ext uri="{BB962C8B-B14F-4D97-AF65-F5344CB8AC3E}">
        <p14:creationId xmlns:p14="http://schemas.microsoft.com/office/powerpoint/2010/main" val="1311657363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30152" y="1178481"/>
            <a:ext cx="9180910" cy="2506980"/>
          </a:xfrm>
          <a:prstGeom prst="rect">
            <a:avLst/>
          </a:prstGeom>
        </p:spPr>
        <p:txBody>
          <a:bodyPr anchor="b"/>
          <a:lstStyle>
            <a:lvl1pPr algn="ctr">
              <a:defRPr sz="6024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30152" y="3782140"/>
            <a:ext cx="9180910" cy="17385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10"/>
            </a:lvl1pPr>
            <a:lvl2pPr marL="459029" indent="0" algn="ctr">
              <a:buNone/>
              <a:defRPr sz="2008"/>
            </a:lvl2pPr>
            <a:lvl3pPr marL="918058" indent="0" algn="ctr">
              <a:buNone/>
              <a:defRPr sz="1807"/>
            </a:lvl3pPr>
            <a:lvl4pPr marL="1377086" indent="0" algn="ctr">
              <a:buNone/>
              <a:defRPr sz="1606"/>
            </a:lvl4pPr>
            <a:lvl5pPr marL="1836115" indent="0" algn="ctr">
              <a:buNone/>
              <a:defRPr sz="1606"/>
            </a:lvl5pPr>
            <a:lvl6pPr marL="2295144" indent="0" algn="ctr">
              <a:buNone/>
              <a:defRPr sz="1606"/>
            </a:lvl6pPr>
            <a:lvl7pPr marL="2754173" indent="0" algn="ctr">
              <a:buNone/>
              <a:defRPr sz="1606"/>
            </a:lvl7pPr>
            <a:lvl8pPr marL="3213202" indent="0" algn="ctr">
              <a:buNone/>
              <a:defRPr sz="1606"/>
            </a:lvl8pPr>
            <a:lvl9pPr marL="3672230" indent="0" algn="ctr">
              <a:buNone/>
              <a:defRPr sz="1606"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957679383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2062" y="6674168"/>
            <a:ext cx="2856283" cy="38338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2415" y="6674168"/>
            <a:ext cx="3876384" cy="383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57442"/>
      </p:ext>
    </p:extLst>
  </p:cSld>
  <p:clrMapOvr>
    <a:masterClrMapping/>
  </p:clrMapOvr>
  <p:transition spd="med"/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6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224494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4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7039922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2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829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2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83610" tIns="41805" rIns="83610" bIns="41805" rtlCol="0" anchor="ctr">
            <a:noAutofit/>
          </a:bodyPr>
          <a:lstStyle/>
          <a:p>
            <a:pPr defTabSz="877855">
              <a:spcBef>
                <a:spcPct val="0"/>
              </a:spcBef>
              <a:defRPr/>
            </a:pPr>
            <a:r>
              <a:rPr lang="zh-CN" altLang="en-US" sz="2561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33791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930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7834188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2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46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6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29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7041750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4" y="2468881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5" y="2468881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829"/>
            </a:lvl1pPr>
            <a:lvl2pPr>
              <a:defRPr sz="1646"/>
            </a:lvl2pPr>
            <a:lvl3pPr>
              <a:defRPr sz="1463"/>
            </a:lvl3pPr>
            <a:lvl4pPr>
              <a:defRPr sz="1279"/>
            </a:lvl4pPr>
            <a:lvl5pPr>
              <a:defRPr sz="1279"/>
            </a:lvl5pPr>
            <a:lvl6pPr>
              <a:defRPr sz="1646"/>
            </a:lvl6pPr>
            <a:lvl7pPr>
              <a:defRPr sz="1646"/>
            </a:lvl7pPr>
            <a:lvl8pPr>
              <a:defRPr sz="1646"/>
            </a:lvl8pPr>
            <a:lvl9pPr>
              <a:defRPr sz="164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B8CBA3BE-3236-4ADB-A207-F386C99C43FF}" type="datetimeFigureOut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2019/12/24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2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877855"/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7" y="6673852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877855"/>
            <a:fld id="{0FB7EC70-51C2-4279-8B7A-78ABF2C09015}" type="slidenum">
              <a:rPr lang="zh-CN" altLang="en-US" sz="1728" smtClean="0">
                <a:solidFill>
                  <a:prstClr val="black">
                    <a:tint val="75000"/>
                  </a:prstClr>
                </a:solidFill>
              </a:rPr>
              <a:pPr defTabSz="877855"/>
              <a:t>‹#›</a:t>
            </a:fld>
            <a:endParaRPr lang="zh-CN" altLang="en-US" sz="1728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5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40" y="818835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829" b="1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2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40" y="1341122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646" b="0"/>
            </a:lvl1pPr>
            <a:lvl2pPr marL="418034" indent="0">
              <a:buNone/>
              <a:defRPr sz="1829" b="1"/>
            </a:lvl2pPr>
            <a:lvl3pPr marL="836071" indent="0">
              <a:buNone/>
              <a:defRPr sz="1646" b="1"/>
            </a:lvl3pPr>
            <a:lvl4pPr marL="1254104" indent="0">
              <a:buNone/>
              <a:defRPr sz="1463" b="1"/>
            </a:lvl4pPr>
            <a:lvl5pPr marL="1672139" indent="0">
              <a:buNone/>
              <a:defRPr sz="1463" b="1"/>
            </a:lvl5pPr>
            <a:lvl6pPr marL="2090173" indent="0">
              <a:buNone/>
              <a:defRPr sz="1463" b="1"/>
            </a:lvl6pPr>
            <a:lvl7pPr marL="2508209" indent="0">
              <a:buNone/>
              <a:defRPr sz="1463" b="1"/>
            </a:lvl7pPr>
            <a:lvl8pPr marL="2926243" indent="0">
              <a:buNone/>
              <a:defRPr sz="1463" b="1"/>
            </a:lvl8pPr>
            <a:lvl9pPr marL="3344278" indent="0">
              <a:buNone/>
              <a:defRPr sz="146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5745507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650484"/>
      </p:ext>
    </p:extLst>
  </p:cSld>
  <p:clrMapOvr>
    <a:masterClrMapping/>
  </p:clrMapOvr>
  <p:transition spd="med"/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87340" cy="676925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1959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9399285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91690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1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9360795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921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875757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784330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23481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17993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05422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21249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0375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58322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0530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" y="0"/>
            <a:ext cx="12241213" cy="802939"/>
          </a:xfrm>
          <a:prstGeom prst="rect">
            <a:avLst/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209" dirty="0">
              <a:solidFill>
                <a:prstClr val="white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169" y="223251"/>
            <a:ext cx="1156779" cy="39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0116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5778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2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700284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0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0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478151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094940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0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3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20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80094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09997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2" y="2468879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3" y="2468879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3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0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8" y="1341120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82919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7254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23978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69072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" y="0"/>
            <a:ext cx="12241213" cy="802939"/>
          </a:xfrm>
          <a:prstGeom prst="rect">
            <a:avLst/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209" dirty="0">
              <a:solidFill>
                <a:prstClr val="white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169" y="223251"/>
            <a:ext cx="1156779" cy="39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221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2512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8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9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675983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851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640413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762157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96365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3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8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8" y="1568133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4401815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11184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362535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437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0606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54147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270E79FD-C402-4CC3-9A82-BAE1DCDFB08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1134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70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49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77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97838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3682" y="90983"/>
            <a:ext cx="12017677" cy="534328"/>
          </a:xfrm>
          <a:prstGeom prst="rect">
            <a:avLst/>
          </a:prstGeom>
          <a:noFill/>
        </p:spPr>
        <p:txBody>
          <a:bodyPr lIns="87056" tIns="43529" rIns="87056" bIns="43529" anchor="ctr">
            <a:noAutofit/>
          </a:bodyPr>
          <a:lstStyle>
            <a:lvl1pPr algn="l">
              <a:defRPr sz="3072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042461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0B1C2-25D1-49D7-B3E6-BD8961197B2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180DC-24E0-4EA9-99FD-E514C61A2058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1" y="0"/>
            <a:ext cx="222965" cy="507492"/>
          </a:xfrm>
          <a:prstGeom prst="rect">
            <a:avLst/>
          </a:prstGeom>
          <a:solidFill>
            <a:srgbClr val="E10500"/>
          </a:solidFill>
          <a:ln>
            <a:solidFill>
              <a:srgbClr val="E10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507492"/>
            <a:ext cx="222965" cy="507492"/>
          </a:xfrm>
          <a:prstGeom prst="rect">
            <a:avLst/>
          </a:prstGeom>
          <a:solidFill>
            <a:srgbClr val="2319DC"/>
          </a:solidFill>
          <a:ln>
            <a:solidFill>
              <a:srgbClr val="2319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8058"/>
            <a:endParaRPr lang="zh-CN" altLang="en-US" sz="180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61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4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2" y="2712719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65401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|| 朴素的标题&amp;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8984" y="288371"/>
            <a:ext cx="11017092" cy="791800"/>
          </a:xfrm>
          <a:prstGeom prst="rect">
            <a:avLst/>
          </a:prstGeom>
        </p:spPr>
        <p:txBody>
          <a:bodyPr/>
          <a:lstStyle>
            <a:lvl1pPr algn="l">
              <a:defRPr sz="4284" b="1" spc="402">
                <a:solidFill>
                  <a:schemeClr val="bg1">
                    <a:lumMod val="50000"/>
                  </a:schemeClr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18984" y="1080170"/>
            <a:ext cx="11017092" cy="505469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pc="0">
                <a:solidFill>
                  <a:srgbClr val="70001F"/>
                </a:solidFill>
                <a:latin typeface="微软雅黑"/>
                <a:ea typeface="微软雅黑"/>
                <a:cs typeface="微软雅黑"/>
              </a:defRPr>
            </a:lvl1pPr>
            <a:lvl2pPr marL="1224047" indent="-612023">
              <a:lnSpc>
                <a:spcPct val="100000"/>
              </a:lnSpc>
              <a:buFont typeface="Arial"/>
              <a:buChar char="•"/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2pPr>
            <a:lvl3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3pPr>
            <a:lvl4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4pPr>
            <a:lvl5pPr>
              <a:lnSpc>
                <a:spcPct val="100000"/>
              </a:lnSpc>
              <a:defRPr spc="0">
                <a:solidFill>
                  <a:schemeClr val="tx1">
                    <a:lumMod val="50000"/>
                    <a:lumOff val="50000"/>
                  </a:schemeClr>
                </a:solidFill>
                <a:latin typeface="微软雅黑"/>
                <a:ea typeface="微软雅黑"/>
                <a:cs typeface="微软雅黑"/>
              </a:defRPr>
            </a:lvl5pPr>
          </a:lstStyle>
          <a:p>
            <a:pPr lvl="0"/>
            <a:r>
              <a:rPr kumimoji="1" lang="zh-CN" altLang="en-US" dirty="0"/>
              <a:t> </a:t>
            </a:r>
            <a:r>
              <a:rPr kumimoji="1" lang="en-US" altLang="zh-CN" dirty="0"/>
              <a:t>	</a:t>
            </a:r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061" y="6674168"/>
            <a:ext cx="1459821" cy="4546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fld id="{E51EE6DE-BDED-42FA-BA75-78CE9C2E16CB}" type="datetime10">
              <a:rPr lang="zh-CN" altLang="en-US" smtClean="0"/>
              <a:pPr/>
              <a:t>10:17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2071882" y="6646225"/>
            <a:ext cx="3876384" cy="5070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5718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页脚内容</a:t>
            </a:r>
          </a:p>
        </p:txBody>
      </p:sp>
    </p:spTree>
    <p:extLst>
      <p:ext uri="{BB962C8B-B14F-4D97-AF65-F5344CB8AC3E}">
        <p14:creationId xmlns:p14="http://schemas.microsoft.com/office/powerpoint/2010/main" val="15783243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6504678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11437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86161" y="838200"/>
            <a:ext cx="731520" cy="559435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1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01" y="838200"/>
            <a:ext cx="10698480" cy="559435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87438" tIns="43719" rIns="87438" bIns="43719" rtlCol="0" anchor="ctr">
            <a:noAutofit/>
          </a:bodyPr>
          <a:lstStyle/>
          <a:p>
            <a:pPr defTabSz="918058">
              <a:spcBef>
                <a:spcPct val="0"/>
              </a:spcBef>
              <a:defRPr/>
            </a:pPr>
            <a:r>
              <a:rPr lang="zh-CN" altLang="en-US" sz="2678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166331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111525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11152504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21309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51816" y="792481"/>
            <a:ext cx="11152504" cy="4312920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51816" y="5684520"/>
            <a:ext cx="5508000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518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90616" y="5684520"/>
            <a:ext cx="5513704" cy="76263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2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90616" y="5181284"/>
            <a:ext cx="5508000" cy="4727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13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12578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2793" y="2468880"/>
            <a:ext cx="5810821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014" y="2468880"/>
            <a:ext cx="5813107" cy="3963671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721"/>
            </a:lvl6pPr>
            <a:lvl7pPr>
              <a:defRPr sz="1721"/>
            </a:lvl7pPr>
            <a:lvl8pPr>
              <a:defRPr sz="1721"/>
            </a:lvl8pPr>
            <a:lvl9pPr>
              <a:defRPr sz="1721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2793" y="81883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4"/>
            <a:ext cx="5745162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2793" y="1341121"/>
            <a:ext cx="5788596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218239" y="1341121"/>
            <a:ext cx="5745162" cy="103473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21" b="0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809303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818833"/>
            <a:ext cx="5788596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2793" y="1568134"/>
            <a:ext cx="5788596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18239" y="818833"/>
            <a:ext cx="5745162" cy="6731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179" indent="0">
              <a:buNone/>
              <a:defRPr sz="1913" b="1"/>
            </a:lvl2pPr>
            <a:lvl3pPr marL="874359" indent="0">
              <a:buNone/>
              <a:defRPr sz="1721" b="1"/>
            </a:lvl3pPr>
            <a:lvl4pPr marL="1311537" indent="0">
              <a:buNone/>
              <a:defRPr sz="1530" b="1"/>
            </a:lvl4pPr>
            <a:lvl5pPr marL="1748716" indent="0">
              <a:buNone/>
              <a:defRPr sz="1530" b="1"/>
            </a:lvl5pPr>
            <a:lvl6pPr marL="2185895" indent="0">
              <a:buNone/>
              <a:defRPr sz="1530" b="1"/>
            </a:lvl6pPr>
            <a:lvl7pPr marL="2623074" indent="0">
              <a:buNone/>
              <a:defRPr sz="1530" b="1"/>
            </a:lvl7pPr>
            <a:lvl8pPr marL="3060253" indent="0">
              <a:buNone/>
              <a:defRPr sz="1530" b="1"/>
            </a:lvl8pPr>
            <a:lvl9pPr marL="3497432" indent="0">
              <a:buNone/>
              <a:defRPr sz="153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18239" y="1568134"/>
            <a:ext cx="5745162" cy="4925377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13"/>
            </a:lvl1pPr>
            <a:lvl2pPr>
              <a:defRPr sz="1721"/>
            </a:lvl2pPr>
            <a:lvl3pPr>
              <a:defRPr sz="1530"/>
            </a:lvl3pPr>
            <a:lvl4pPr>
              <a:defRPr sz="1338"/>
            </a:lvl4pPr>
            <a:lvl5pPr>
              <a:defRPr sz="1338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8787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3" y="686434"/>
            <a:ext cx="520788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2792" y="4739005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8033" y="2712720"/>
            <a:ext cx="5207888" cy="198056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41976" y="104643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41976" y="68643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41976" y="307335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41976" y="2713356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41976" y="5099005"/>
            <a:ext cx="6367144" cy="162056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41976" y="4739005"/>
            <a:ext cx="6367144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78967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80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5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7001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80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1" y="6244545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3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5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21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6618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8032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2792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2792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2792" y="3903979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7552" y="6244544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7552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56960" y="686434"/>
            <a:ext cx="568032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41720" y="3026999"/>
            <a:ext cx="569556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41720" y="2666999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41720" y="3903979"/>
            <a:ext cx="5695568" cy="1980565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26480" y="6244544"/>
            <a:ext cx="5710808" cy="752521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26480" y="5884544"/>
            <a:ext cx="5695568" cy="360000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8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73976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95667" y="1582648"/>
            <a:ext cx="12640802" cy="5618279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258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86863" y="825084"/>
            <a:ext cx="11571852" cy="6000792"/>
          </a:xfrm>
        </p:spPr>
        <p:txBody>
          <a:bodyPr>
            <a:normAutofit/>
          </a:bodyPr>
          <a:lstStyle>
            <a:lvl1pPr marL="0" indent="0" algn="l">
              <a:buNone/>
              <a:defRPr sz="2295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3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61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9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2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53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84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15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45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7689403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12063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270E79FD-C402-4CC3-9A82-BAE1DCDFB089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82424" y="6674177"/>
            <a:ext cx="38763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2879" y="6674177"/>
            <a:ext cx="2856284" cy="383381"/>
          </a:xfrm>
          <a:prstGeom prst="rect">
            <a:avLst/>
          </a:prstGeom>
        </p:spPr>
        <p:txBody>
          <a:bodyPr lIns="111008" tIns="55507" rIns="111008" bIns="55507"/>
          <a:lstStyle/>
          <a:p>
            <a:pPr defTabSz="918058"/>
            <a:fld id="{9C3BABE4-52A5-4B0F-907F-4727857335A2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0485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3441057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5908" y="4227423"/>
            <a:ext cx="11017092" cy="120015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1998013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2876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80621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665" y="1582650"/>
            <a:ext cx="12640802" cy="5618278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0427" y="1"/>
            <a:ext cx="10405031" cy="600054"/>
          </a:xfrm>
        </p:spPr>
        <p:txBody>
          <a:bodyPr>
            <a:noAutofit/>
          </a:bodyPr>
          <a:lstStyle>
            <a:lvl1pPr algn="l">
              <a:defRPr sz="3213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5995244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27138" y="3665"/>
            <a:ext cx="3186938" cy="14346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61453"/>
              <a:endParaRPr lang="zh-CN" altLang="en-US" sz="2103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635482"/>
            <a:ext cx="12241211" cy="1929939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4241" tIns="68848" rIns="103272" bIns="68848" anchor="ctr"/>
          <a:lstStyle/>
          <a:p>
            <a:pPr defTabSz="757599">
              <a:spcBef>
                <a:spcPct val="0"/>
              </a:spcBef>
              <a:defRPr/>
            </a:pPr>
            <a:endParaRPr lang="zh-CN" altLang="en-US" sz="3825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1235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649694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2793" y="1249681"/>
            <a:ext cx="11700127" cy="5198110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B8CBA3BE-3236-4ADB-A207-F386C99C43FF}" type="datetimeFigureOut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2019/12/24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/>
          <a:lstStyle/>
          <a:p>
            <a:pPr defTabSz="918058"/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/>
          <a:lstStyle/>
          <a:p>
            <a:pPr defTabSz="918058"/>
            <a:fld id="{0FB7EC70-51C2-4279-8B7A-78ABF2C09015}" type="slidenum">
              <a:rPr lang="zh-CN" altLang="en-US" sz="1807" smtClean="0">
                <a:solidFill>
                  <a:prstClr val="black">
                    <a:tint val="75000"/>
                  </a:prstClr>
                </a:solidFill>
              </a:rPr>
              <a:pPr defTabSz="918058"/>
              <a:t>‹#›</a:t>
            </a:fld>
            <a:endParaRPr lang="zh-CN" altLang="en-US" sz="180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2793" y="773114"/>
            <a:ext cx="5788596" cy="44608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13" b="1"/>
            </a:lvl1pPr>
            <a:lvl2pPr marL="437352" indent="0">
              <a:buNone/>
              <a:defRPr sz="1913" b="1"/>
            </a:lvl2pPr>
            <a:lvl3pPr marL="874067" indent="0">
              <a:buNone/>
              <a:defRPr sz="1722" b="1"/>
            </a:lvl3pPr>
            <a:lvl4pPr marL="1311420" indent="0">
              <a:buNone/>
              <a:defRPr sz="1531" b="1"/>
            </a:lvl4pPr>
            <a:lvl5pPr marL="1748772" indent="0">
              <a:buNone/>
              <a:defRPr sz="1531" b="1"/>
            </a:lvl5pPr>
            <a:lvl6pPr marL="2186125" indent="0">
              <a:buNone/>
              <a:defRPr sz="1531" b="1"/>
            </a:lvl6pPr>
            <a:lvl7pPr marL="2622840" indent="0">
              <a:buNone/>
              <a:defRPr sz="1531" b="1"/>
            </a:lvl7pPr>
            <a:lvl8pPr marL="3060192" indent="0">
              <a:buNone/>
              <a:defRPr sz="1531" b="1"/>
            </a:lvl8pPr>
            <a:lvl9pPr marL="3497544" indent="0">
              <a:buNone/>
              <a:defRPr sz="1531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29722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31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47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54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79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198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17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16.xml"/><Relationship Id="rId16" Type="http://schemas.openxmlformats.org/officeDocument/2006/relationships/slideLayout" Target="../slideLayouts/slideLayout230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24.xml"/><Relationship Id="rId19" Type="http://schemas.openxmlformats.org/officeDocument/2006/relationships/theme" Target="../theme/theme16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35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4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6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253.xml"/><Relationship Id="rId21" Type="http://schemas.openxmlformats.org/officeDocument/2006/relationships/image" Target="../media/image11.emf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6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theme" Target="../theme/theme20.xml"/><Relationship Id="rId3" Type="http://schemas.openxmlformats.org/officeDocument/2006/relationships/slideLayout" Target="../slideLayouts/slideLayout269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76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85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299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298.xml"/><Relationship Id="rId16" Type="http://schemas.openxmlformats.org/officeDocument/2006/relationships/slideLayout" Target="../slideLayouts/slideLayout312.xml"/><Relationship Id="rId20" Type="http://schemas.openxmlformats.org/officeDocument/2006/relationships/theme" Target="../theme/theme22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306.xml"/><Relationship Id="rId19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Relationship Id="rId22" Type="http://schemas.openxmlformats.org/officeDocument/2006/relationships/image" Target="../media/image2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317.xml"/><Relationship Id="rId16" Type="http://schemas.openxmlformats.org/officeDocument/2006/relationships/theme" Target="../theme/theme23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25.xml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slideLayout" Target="../slideLayouts/slideLayout329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18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3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17" Type="http://schemas.openxmlformats.org/officeDocument/2006/relationships/slideLayout" Target="../slideLayouts/slideLayout347.xml"/><Relationship Id="rId2" Type="http://schemas.openxmlformats.org/officeDocument/2006/relationships/slideLayout" Target="../slideLayouts/slideLayout332.xml"/><Relationship Id="rId16" Type="http://schemas.openxmlformats.org/officeDocument/2006/relationships/slideLayout" Target="../slideLayouts/slideLayout34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5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340.xml"/><Relationship Id="rId19" Type="http://schemas.openxmlformats.org/officeDocument/2006/relationships/theme" Target="../theme/theme24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slideLayout" Target="../slideLayouts/slideLayout34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slideLayout" Target="../slideLayouts/slideLayout361.xml"/><Relationship Id="rId18" Type="http://schemas.openxmlformats.org/officeDocument/2006/relationships/image" Target="../media/image8.jpeg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350.xml"/><Relationship Id="rId16" Type="http://schemas.openxmlformats.org/officeDocument/2006/relationships/theme" Target="../theme/theme25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5" Type="http://schemas.openxmlformats.org/officeDocument/2006/relationships/slideLayout" Target="../slideLayouts/slideLayout363.xml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slideLayout" Target="../slideLayouts/slideLayout36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6.xml"/><Relationship Id="rId1" Type="http://schemas.openxmlformats.org/officeDocument/2006/relationships/slideLayout" Target="../slideLayouts/slideLayout364.xml"/><Relationship Id="rId4" Type="http://schemas.openxmlformats.org/officeDocument/2006/relationships/image" Target="../media/image2.jpe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18" Type="http://schemas.openxmlformats.org/officeDocument/2006/relationships/theme" Target="../theme/theme28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slideLayout" Target="../slideLayouts/slideLayout381.xml"/><Relationship Id="rId2" Type="http://schemas.openxmlformats.org/officeDocument/2006/relationships/slideLayout" Target="../slideLayouts/slideLayout366.xml"/><Relationship Id="rId16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10" Type="http://schemas.openxmlformats.org/officeDocument/2006/relationships/slideLayout" Target="../slideLayouts/slideLayout374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vmlDrawing" Target="../drawings/vmlDrawing2.vml"/><Relationship Id="rId1" Type="http://schemas.openxmlformats.org/officeDocument/2006/relationships/theme" Target="../theme/theme29.xml"/><Relationship Id="rId6" Type="http://schemas.openxmlformats.org/officeDocument/2006/relationships/image" Target="../media/image1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84.xml"/><Relationship Id="rId7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83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386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91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Relationship Id="rId14" Type="http://schemas.openxmlformats.org/officeDocument/2006/relationships/theme" Target="../theme/theme3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2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397.xml"/><Relationship Id="rId7" Type="http://schemas.openxmlformats.org/officeDocument/2006/relationships/slideLayout" Target="../slideLayouts/slideLayout401.xml"/><Relationship Id="rId12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99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Relationship Id="rId14" Type="http://schemas.openxmlformats.org/officeDocument/2006/relationships/image" Target="../media/image1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4.xml"/><Relationship Id="rId13" Type="http://schemas.openxmlformats.org/officeDocument/2006/relationships/slideLayout" Target="../slideLayouts/slideLayout41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409.xml"/><Relationship Id="rId7" Type="http://schemas.openxmlformats.org/officeDocument/2006/relationships/slideLayout" Target="../slideLayouts/slideLayout413.xml"/><Relationship Id="rId12" Type="http://schemas.openxmlformats.org/officeDocument/2006/relationships/slideLayout" Target="../slideLayouts/slideLayout418.xml"/><Relationship Id="rId17" Type="http://schemas.openxmlformats.org/officeDocument/2006/relationships/theme" Target="../theme/theme32.xml"/><Relationship Id="rId2" Type="http://schemas.openxmlformats.org/officeDocument/2006/relationships/slideLayout" Target="../slideLayouts/slideLayout408.xml"/><Relationship Id="rId16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1" Type="http://schemas.openxmlformats.org/officeDocument/2006/relationships/slideLayout" Target="../slideLayouts/slideLayout417.xml"/><Relationship Id="rId5" Type="http://schemas.openxmlformats.org/officeDocument/2006/relationships/slideLayout" Target="../slideLayouts/slideLayout411.xml"/><Relationship Id="rId15" Type="http://schemas.openxmlformats.org/officeDocument/2006/relationships/slideLayout" Target="../slideLayouts/slideLayout421.xml"/><Relationship Id="rId10" Type="http://schemas.openxmlformats.org/officeDocument/2006/relationships/slideLayout" Target="../slideLayouts/slideLayout416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Relationship Id="rId14" Type="http://schemas.openxmlformats.org/officeDocument/2006/relationships/slideLayout" Target="../slideLayouts/slideLayout420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slideLayout" Target="../slideLayouts/slideLayout435.xml"/><Relationship Id="rId3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2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27.xml"/><Relationship Id="rId15" Type="http://schemas.openxmlformats.org/officeDocument/2006/relationships/theme" Target="../theme/theme33.xml"/><Relationship Id="rId10" Type="http://schemas.openxmlformats.org/officeDocument/2006/relationships/slideLayout" Target="../slideLayouts/slideLayout432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39.xml"/><Relationship Id="rId7" Type="http://schemas.openxmlformats.org/officeDocument/2006/relationships/slideLayout" Target="../slideLayouts/slideLayout443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438.xml"/><Relationship Id="rId1" Type="http://schemas.openxmlformats.org/officeDocument/2006/relationships/slideLayout" Target="../slideLayouts/slideLayout437.xml"/><Relationship Id="rId6" Type="http://schemas.openxmlformats.org/officeDocument/2006/relationships/slideLayout" Target="../slideLayouts/slideLayout442.xml"/><Relationship Id="rId11" Type="http://schemas.openxmlformats.org/officeDocument/2006/relationships/slideLayout" Target="../slideLayouts/slideLayout447.xml"/><Relationship Id="rId5" Type="http://schemas.openxmlformats.org/officeDocument/2006/relationships/slideLayout" Target="../slideLayouts/slideLayout441.xml"/><Relationship Id="rId10" Type="http://schemas.openxmlformats.org/officeDocument/2006/relationships/slideLayout" Target="../slideLayouts/slideLayout446.xml"/><Relationship Id="rId4" Type="http://schemas.openxmlformats.org/officeDocument/2006/relationships/slideLayout" Target="../slideLayouts/slideLayout440.xml"/><Relationship Id="rId9" Type="http://schemas.openxmlformats.org/officeDocument/2006/relationships/slideLayout" Target="../slideLayouts/slideLayout445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67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0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8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Verdana"/>
                <a:ea typeface="微软雅黑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Verdana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26423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932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83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  <p:sldLayoutId id="2147484340" r:id="rId12"/>
    <p:sldLayoutId id="2147484341" r:id="rId13"/>
    <p:sldLayoutId id="2147484342" r:id="rId14"/>
    <p:sldLayoutId id="2147484343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34238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  <p:sldLayoutId id="2147484357" r:id="rId12"/>
    <p:sldLayoutId id="2147484358" r:id="rId13"/>
    <p:sldLayoutId id="2147484359" r:id="rId14"/>
    <p:sldLayoutId id="2147484360" r:id="rId15"/>
    <p:sldLayoutId id="2147484361" r:id="rId16"/>
    <p:sldLayoutId id="2147484362" r:id="rId17"/>
    <p:sldLayoutId id="2147484363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746922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377" r:id="rId12"/>
    <p:sldLayoutId id="2147484378" r:id="rId13"/>
    <p:sldLayoutId id="2147484379" r:id="rId14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472934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  <p:sldLayoutId id="2147484418" r:id="rId17"/>
    <p:sldLayoutId id="2147484419" r:id="rId18"/>
    <p:sldLayoutId id="2147484421" r:id="rId19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14393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0867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086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086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72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9" r:id="rId10"/>
    <p:sldLayoutId id="2147484440" r:id="rId11"/>
    <p:sldLayoutId id="2147484441" r:id="rId12"/>
    <p:sldLayoutId id="2147484442" r:id="rId13"/>
    <p:sldLayoutId id="2147484443" r:id="rId14"/>
    <p:sldLayoutId id="2147484444" r:id="rId15"/>
    <p:sldLayoutId id="2147484445" r:id="rId16"/>
    <p:sldLayoutId id="2147484446" r:id="rId17"/>
    <p:sldLayoutId id="2147484447" r:id="rId18"/>
    <p:sldLayoutId id="2147484448" r:id="rId19"/>
  </p:sldLayoutIdLst>
  <p:txStyles>
    <p:titleStyle>
      <a:lvl1pPr algn="l" defTabSz="874067" rtl="0" eaLnBrk="1" latinLnBrk="0" hangingPunct="1">
        <a:spcBef>
          <a:spcPct val="0"/>
        </a:spcBef>
        <a:buNone/>
        <a:defRPr sz="258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696" indent="-32769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220" indent="-273505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2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744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096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4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448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4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801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516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68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221" indent="-218676" algn="l" defTabSz="874067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1pPr>
      <a:lvl2pPr marL="43735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2pPr>
      <a:lvl3pPr marL="874067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3pPr>
      <a:lvl4pPr marL="131142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4877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86125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62284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306019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4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493045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  <p:sldLayoutId id="2147484462" r:id="rId12"/>
    <p:sldLayoutId id="2147484464" r:id="rId13"/>
    <p:sldLayoutId id="2147484465" r:id="rId14"/>
    <p:sldLayoutId id="2147484466" r:id="rId15"/>
    <p:sldLayoutId id="2147484467" r:id="rId16"/>
    <p:sldLayoutId id="2147484468" r:id="rId17"/>
    <p:sldLayoutId id="2147484469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74148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2" r:id="rId1"/>
    <p:sldLayoutId id="2147484493" r:id="rId2"/>
    <p:sldLayoutId id="2147484494" r:id="rId3"/>
    <p:sldLayoutId id="2147484495" r:id="rId4"/>
    <p:sldLayoutId id="2147484496" r:id="rId5"/>
    <p:sldLayoutId id="2147484497" r:id="rId6"/>
    <p:sldLayoutId id="2147484498" r:id="rId7"/>
    <p:sldLayoutId id="2147484499" r:id="rId8"/>
    <p:sldLayoutId id="2147484500" r:id="rId9"/>
    <p:sldLayoutId id="2147484501" r:id="rId10"/>
    <p:sldLayoutId id="2147484502" r:id="rId11"/>
    <p:sldLayoutId id="2147484504" r:id="rId12"/>
    <p:sldLayoutId id="2147484505" r:id="rId13"/>
    <p:sldLayoutId id="2147484506" r:id="rId14"/>
    <p:sldLayoutId id="2147484507" r:id="rId15"/>
    <p:sldLayoutId id="2147484508" r:id="rId16"/>
    <p:sldLayoutId id="2147484509" r:id="rId17"/>
    <p:sldLayoutId id="2147484510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48551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95" y="1668"/>
          <a:ext cx="1593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5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668"/>
                        <a:ext cx="1593" cy="166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3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64442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  <p:sldLayoutId id="2147484585" r:id="rId13"/>
    <p:sldLayoutId id="2147484586" r:id="rId14"/>
    <p:sldLayoutId id="2147484587" r:id="rId15"/>
    <p:sldLayoutId id="2147484588" r:id="rId16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873980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1" r:id="rId13"/>
    <p:sldLayoutId id="2147484062" r:id="rId14"/>
    <p:sldLayoutId id="2147484063" r:id="rId15"/>
    <p:sldLayoutId id="2147484064" r:id="rId16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131103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2" r:id="rId10"/>
    <p:sldLayoutId id="2147484624" r:id="rId11"/>
    <p:sldLayoutId id="2147484625" r:id="rId12"/>
    <p:sldLayoutId id="2147484626" r:id="rId13"/>
    <p:sldLayoutId id="2147484627" r:id="rId14"/>
    <p:sldLayoutId id="2147484628" r:id="rId15"/>
    <p:sldLayoutId id="2147484629" r:id="rId16"/>
    <p:sldLayoutId id="2147484630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871576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  <p:sldLayoutId id="2147484637" r:id="rId6"/>
    <p:sldLayoutId id="2147484638" r:id="rId7"/>
    <p:sldLayoutId id="2147484639" r:id="rId8"/>
    <p:sldLayoutId id="2147484640" r:id="rId9"/>
    <p:sldLayoutId id="2147484641" r:id="rId10"/>
    <p:sldLayoutId id="2147484642" r:id="rId11"/>
    <p:sldLayoutId id="2147484643" r:id="rId12"/>
    <p:sldLayoutId id="2147484644" r:id="rId13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786737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  <p:sldLayoutId id="2147484668" r:id="rId2"/>
    <p:sldLayoutId id="2147484669" r:id="rId3"/>
    <p:sldLayoutId id="2147484670" r:id="rId4"/>
    <p:sldLayoutId id="2147484671" r:id="rId5"/>
    <p:sldLayoutId id="2147484672" r:id="rId6"/>
    <p:sldLayoutId id="2147484673" r:id="rId7"/>
    <p:sldLayoutId id="2147484674" r:id="rId8"/>
    <p:sldLayoutId id="2147484675" r:id="rId9"/>
    <p:sldLayoutId id="2147484676" r:id="rId10"/>
    <p:sldLayoutId id="2147484677" r:id="rId11"/>
    <p:sldLayoutId id="2147484679" r:id="rId12"/>
    <p:sldLayoutId id="2147484680" r:id="rId13"/>
    <p:sldLayoutId id="2147484681" r:id="rId14"/>
    <p:sldLayoutId id="2147484682" r:id="rId15"/>
    <p:sldLayoutId id="2147484683" r:id="rId16"/>
    <p:sldLayoutId id="2147484684" r:id="rId17"/>
    <p:sldLayoutId id="2147484685" r:id="rId18"/>
    <p:sldLayoutId id="2147484686" r:id="rId19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161339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9" r:id="rId10"/>
    <p:sldLayoutId id="2147484720" r:id="rId11"/>
    <p:sldLayoutId id="2147484721" r:id="rId12"/>
    <p:sldLayoutId id="2147484722" r:id="rId13"/>
    <p:sldLayoutId id="2147484723" r:id="rId14"/>
    <p:sldLayoutId id="2147484724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99765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  <p:sldLayoutId id="2147484774" r:id="rId8"/>
    <p:sldLayoutId id="2147484775" r:id="rId9"/>
    <p:sldLayoutId id="2147484776" r:id="rId10"/>
    <p:sldLayoutId id="2147484777" r:id="rId11"/>
    <p:sldLayoutId id="2147484778" r:id="rId12"/>
    <p:sldLayoutId id="2147484779" r:id="rId13"/>
    <p:sldLayoutId id="2147484780" r:id="rId14"/>
    <p:sldLayoutId id="2147484781" r:id="rId15"/>
    <p:sldLayoutId id="2147484782" r:id="rId16"/>
    <p:sldLayoutId id="2147484783" r:id="rId17"/>
    <p:sldLayoutId id="2147484784" r:id="rId18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18933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7" r:id="rId1"/>
    <p:sldLayoutId id="2147484788" r:id="rId2"/>
    <p:sldLayoutId id="2147484789" r:id="rId3"/>
    <p:sldLayoutId id="2147484790" r:id="rId4"/>
    <p:sldLayoutId id="2147484791" r:id="rId5"/>
    <p:sldLayoutId id="2147484792" r:id="rId6"/>
    <p:sldLayoutId id="2147484793" r:id="rId7"/>
    <p:sldLayoutId id="2147484794" r:id="rId8"/>
    <p:sldLayoutId id="2147484795" r:id="rId9"/>
    <p:sldLayoutId id="2147484796" r:id="rId10"/>
    <p:sldLayoutId id="2147484797" r:id="rId11"/>
    <p:sldLayoutId id="2147484798" r:id="rId12"/>
    <p:sldLayoutId id="2147484799" r:id="rId13"/>
    <p:sldLayoutId id="2147484800" r:id="rId14"/>
    <p:sldLayoutId id="2147484801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09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30" tIns="45714" rIns="91430" bIns="45714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2373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296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60" indent="-342860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65" indent="-285718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869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017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313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1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9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7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1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9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83760" y="6827521"/>
            <a:ext cx="469889" cy="277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8058"/>
            <a:fld id="{201194CE-DA41-4DF6-B68B-D435AE780EBD}" type="slidenum">
              <a:rPr lang="zh-CN" altLang="en-US" sz="1205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 defTabSz="918058"/>
              <a:t>‹#›</a:t>
            </a:fld>
            <a:endParaRPr lang="zh-CN" altLang="en-US" sz="1205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936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7" r:id="rId11"/>
    <p:sldLayoutId id="2147484858" r:id="rId12"/>
    <p:sldLayoutId id="2147484859" r:id="rId13"/>
    <p:sldLayoutId id="2147484860" r:id="rId14"/>
    <p:sldLayoutId id="2147484861" r:id="rId15"/>
    <p:sldLayoutId id="2147484862" r:id="rId16"/>
    <p:sldLayoutId id="2147484863" r:id="rId17"/>
  </p:sldLayoutIdLst>
  <p:hf hdr="0" ftr="0" dt="0"/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0905416" y="6696834"/>
            <a:ext cx="1119846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30" tIns="45714" rIns="91430" bIns="45714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09937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109937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8696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296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60" indent="-342860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65" indent="-285718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869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017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313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1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9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7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1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9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520506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1" r:id="rId13"/>
    <p:sldLayoutId id="2147484102" r:id="rId14"/>
    <p:sldLayoutId id="2147484103" r:id="rId15"/>
    <p:sldLayoutId id="2147484104" r:id="rId16"/>
    <p:sldLayoutId id="2147484105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89237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2" r:id="rId1"/>
    <p:sldLayoutId id="2147485033" r:id="rId2"/>
    <p:sldLayoutId id="2147485034" r:id="rId3"/>
    <p:sldLayoutId id="2147485035" r:id="rId4"/>
    <p:sldLayoutId id="2147485036" r:id="rId5"/>
    <p:sldLayoutId id="2147485037" r:id="rId6"/>
    <p:sldLayoutId id="2147485038" r:id="rId7"/>
    <p:sldLayoutId id="2147485039" r:id="rId8"/>
    <p:sldLayoutId id="2147485040" r:id="rId9"/>
    <p:sldLayoutId id="2147485041" r:id="rId10"/>
    <p:sldLayoutId id="2147485042" r:id="rId11"/>
    <p:sldLayoutId id="2147485043" r:id="rId12"/>
    <p:sldLayoutId id="2147485044" r:id="rId13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0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9" r:id="rId10"/>
    <p:sldLayoutId id="2147485090" r:id="rId11"/>
    <p:sldLayoutId id="2147485091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3808754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4" r:id="rId1"/>
    <p:sldLayoutId id="2147485095" r:id="rId2"/>
    <p:sldLayoutId id="2147485096" r:id="rId3"/>
    <p:sldLayoutId id="2147485097" r:id="rId4"/>
    <p:sldLayoutId id="2147485098" r:id="rId5"/>
    <p:sldLayoutId id="2147485099" r:id="rId6"/>
    <p:sldLayoutId id="2147485101" r:id="rId7"/>
    <p:sldLayoutId id="2147485102" r:id="rId8"/>
    <p:sldLayoutId id="2147485103" r:id="rId9"/>
    <p:sldLayoutId id="2147485104" r:id="rId10"/>
    <p:sldLayoutId id="2147485105" r:id="rId11"/>
    <p:sldLayoutId id="2147485106" r:id="rId12"/>
    <p:sldLayoutId id="2147485107" r:id="rId13"/>
    <p:sldLayoutId id="2147485108" r:id="rId14"/>
    <p:sldLayoutId id="2147485109" r:id="rId15"/>
    <p:sldLayoutId id="2147485140" r:id="rId16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408498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8" r:id="rId7"/>
    <p:sldLayoutId id="2147485120" r:id="rId8"/>
    <p:sldLayoutId id="2147485124" r:id="rId9"/>
    <p:sldLayoutId id="2147485145" r:id="rId10"/>
    <p:sldLayoutId id="2147485147" r:id="rId11"/>
    <p:sldLayoutId id="2147485148" r:id="rId12"/>
    <p:sldLayoutId id="2147485149" r:id="rId13"/>
    <p:sldLayoutId id="2147485150" r:id="rId14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7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4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29197" lvl="1">
              <a:buFontTx/>
              <a:buChar char="•"/>
              <a:defRPr/>
            </a:pPr>
            <a:r>
              <a:rPr lang="zh-CN" altLang="en-US" sz="2304" b="1" dirty="0">
                <a:cs typeface="+mn-cs"/>
              </a:rPr>
              <a:t>正文不小于</a:t>
            </a:r>
            <a:r>
              <a:rPr lang="en-US" altLang="zh-CN" sz="2304" b="1" dirty="0">
                <a:cs typeface="+mn-cs"/>
              </a:rPr>
              <a:t>24</a:t>
            </a:r>
            <a:r>
              <a:rPr lang="zh-CN" altLang="en-US" sz="2304" b="1" dirty="0">
                <a:cs typeface="+mn-cs"/>
              </a:rPr>
              <a:t>号字</a:t>
            </a:r>
            <a:endParaRPr lang="en-US" altLang="zh-CN" sz="2304" b="1" dirty="0">
              <a:cs typeface="+mn-cs"/>
            </a:endParaRPr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29197" lvl="1">
              <a:buFontTx/>
              <a:buChar char="•"/>
              <a:defRPr/>
            </a:pPr>
            <a:r>
              <a:rPr lang="zh-CN" altLang="en-US" sz="2304" b="1" dirty="0"/>
              <a:t>正文不小于</a:t>
            </a:r>
            <a:r>
              <a:rPr lang="en-US" altLang="zh-CN" sz="2304" b="1" dirty="0"/>
              <a:t>24</a:t>
            </a:r>
            <a:r>
              <a:rPr lang="zh-CN" altLang="en-US" sz="2304" b="1" dirty="0"/>
              <a:t>号字</a:t>
            </a:r>
            <a:endParaRPr lang="en-US" altLang="zh-CN" sz="2304" b="1" dirty="0"/>
          </a:p>
        </p:txBody>
      </p:sp>
    </p:spTree>
    <p:extLst>
      <p:ext uri="{BB962C8B-B14F-4D97-AF65-F5344CB8AC3E}">
        <p14:creationId xmlns:p14="http://schemas.microsoft.com/office/powerpoint/2010/main" val="82196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7" r:id="rId1"/>
    <p:sldLayoutId id="2147485128" r:id="rId2"/>
    <p:sldLayoutId id="2147485129" r:id="rId3"/>
    <p:sldLayoutId id="2147485130" r:id="rId4"/>
    <p:sldLayoutId id="2147485131" r:id="rId5"/>
    <p:sldLayoutId id="2147485132" r:id="rId6"/>
    <p:sldLayoutId id="2147485135" r:id="rId7"/>
    <p:sldLayoutId id="2147485136" r:id="rId8"/>
    <p:sldLayoutId id="2147485137" r:id="rId9"/>
    <p:sldLayoutId id="2147485138" r:id="rId10"/>
    <p:sldLayoutId id="2147485139" r:id="rId11"/>
  </p:sldLayoutIdLst>
  <p:txStyles>
    <p:titleStyle>
      <a:lvl1pPr algn="l" defTabSz="836071" rtl="0" eaLnBrk="1" latinLnBrk="0" hangingPunct="1">
        <a:spcBef>
          <a:spcPct val="0"/>
        </a:spcBef>
        <a:buNone/>
        <a:defRPr sz="3072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13526" indent="-313526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82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79306" indent="-261272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646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4508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46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463121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881157" indent="-209018" algn="l" defTabSz="836071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279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299192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6pPr>
      <a:lvl7pPr marL="271722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7pPr>
      <a:lvl8pPr marL="3135261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8pPr>
      <a:lvl9pPr marL="3553296" indent="-209018" algn="l" defTabSz="836071" rtl="0" eaLnBrk="1" latinLnBrk="0" hangingPunct="1">
        <a:spcBef>
          <a:spcPct val="20000"/>
        </a:spcBef>
        <a:buFont typeface="Arial" pitchFamily="34" charset="0"/>
        <a:buChar char="•"/>
        <a:defRPr sz="18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1pPr>
      <a:lvl2pPr marL="41803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2pPr>
      <a:lvl3pPr marL="836071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3pPr>
      <a:lvl4pPr marL="1254104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4pPr>
      <a:lvl5pPr marL="167213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5pPr>
      <a:lvl6pPr marL="209017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6pPr>
      <a:lvl7pPr marL="2508209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7pPr>
      <a:lvl8pPr marL="2926243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8pPr>
      <a:lvl9pPr marL="3344278" algn="l" defTabSz="836071" rtl="0" eaLnBrk="1" latinLnBrk="0" hangingPunct="1">
        <a:defRPr sz="16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507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2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0" y="-23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5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2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0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5" y="6673850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210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6" r:id="rId10"/>
    <p:sldLayoutId id="2147484157" r:id="rId11"/>
    <p:sldLayoutId id="2147484158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700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030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200" r:id="rId10"/>
    <p:sldLayoutId id="2147484201" r:id="rId11"/>
    <p:sldLayoutId id="2147484202" r:id="rId12"/>
    <p:sldLayoutId id="2147484203" r:id="rId13"/>
    <p:sldLayoutId id="2147484204" r:id="rId14"/>
    <p:sldLayoutId id="2147484205" r:id="rId15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2135545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7" r:id="rId1"/>
    <p:sldLayoutId id="2147484208" r:id="rId2"/>
    <p:sldLayoutId id="2147484209" r:id="rId3"/>
    <p:sldLayoutId id="2147484210" r:id="rId4"/>
    <p:sldLayoutId id="2147484211" r:id="rId5"/>
    <p:sldLayoutId id="2147484212" r:id="rId6"/>
    <p:sldLayoutId id="2147484213" r:id="rId7"/>
    <p:sldLayoutId id="2147484214" r:id="rId8"/>
    <p:sldLayoutId id="2147484215" r:id="rId9"/>
    <p:sldLayoutId id="2147484216" r:id="rId10"/>
    <p:sldLayoutId id="2147484217" r:id="rId11"/>
    <p:sldLayoutId id="2147484218" r:id="rId12"/>
    <p:sldLayoutId id="2147484220" r:id="rId13"/>
    <p:sldLayoutId id="2147484221" r:id="rId14"/>
    <p:sldLayoutId id="2147484222" r:id="rId15"/>
    <p:sldLayoutId id="2147484223" r:id="rId16"/>
    <p:sldLayoutId id="2147484224" r:id="rId17"/>
  </p:sldLayoutIdLst>
  <p:txStyles>
    <p:titleStyle>
      <a:lvl1pPr algn="l" defTabSz="874359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4272" lvl="1">
              <a:buFontTx/>
              <a:buChar char="•"/>
              <a:defRPr/>
            </a:pPr>
            <a:r>
              <a:rPr lang="zh-CN" altLang="en-US" sz="2410" b="1" dirty="0">
                <a:cs typeface="+mn-cs"/>
              </a:rPr>
              <a:t>正文不小于</a:t>
            </a:r>
            <a:r>
              <a:rPr lang="en-US" altLang="zh-CN" sz="2410" b="1" dirty="0">
                <a:cs typeface="+mn-cs"/>
              </a:rPr>
              <a:t>24</a:t>
            </a:r>
            <a:r>
              <a:rPr lang="zh-CN" altLang="en-US" sz="2410" b="1" dirty="0">
                <a:cs typeface="+mn-cs"/>
              </a:rPr>
              <a:t>号字</a:t>
            </a:r>
            <a:endParaRPr lang="en-US" altLang="zh-CN" sz="2410" b="1" dirty="0">
              <a:cs typeface="+mn-cs"/>
            </a:endParaRPr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4272" lvl="1">
              <a:buFontTx/>
              <a:buChar char="•"/>
              <a:defRPr/>
            </a:pPr>
            <a:r>
              <a:rPr lang="zh-CN" altLang="en-US" sz="2410" b="1" dirty="0"/>
              <a:t>正文不小于</a:t>
            </a:r>
            <a:r>
              <a:rPr lang="en-US" altLang="zh-CN" sz="2410" b="1" dirty="0"/>
              <a:t>24</a:t>
            </a:r>
            <a:r>
              <a:rPr lang="zh-CN" altLang="en-US" sz="2410" b="1" dirty="0"/>
              <a:t>号字</a:t>
            </a:r>
            <a:endParaRPr lang="en-US" altLang="zh-CN" sz="2410" b="1" dirty="0"/>
          </a:p>
        </p:txBody>
      </p:sp>
    </p:spTree>
    <p:extLst>
      <p:ext uri="{BB962C8B-B14F-4D97-AF65-F5344CB8AC3E}">
        <p14:creationId xmlns:p14="http://schemas.microsoft.com/office/powerpoint/2010/main" val="33411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9" r:id="rId12"/>
    <p:sldLayoutId id="2147484240" r:id="rId13"/>
    <p:sldLayoutId id="2147484241" r:id="rId14"/>
    <p:sldLayoutId id="2147484242" r:id="rId15"/>
    <p:sldLayoutId id="2147484243" r:id="rId16"/>
    <p:sldLayoutId id="2147484244" r:id="rId17"/>
    <p:sldLayoutId id="2147484245" r:id="rId18"/>
    <p:sldLayoutId id="2147484246" r:id="rId19"/>
  </p:sldLayoutIdLst>
  <p:txStyles>
    <p:titleStyle>
      <a:lvl1pPr algn="l" defTabSz="874067" rtl="0" eaLnBrk="1" latinLnBrk="0" hangingPunct="1">
        <a:spcBef>
          <a:spcPct val="0"/>
        </a:spcBef>
        <a:buNone/>
        <a:defRPr sz="3213" b="1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327696" indent="-32769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10220" indent="-273505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–"/>
        <a:defRPr sz="1722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092744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530096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–"/>
        <a:defRPr sz="134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967448" indent="-218676" algn="l" defTabSz="874067" rtl="0" eaLnBrk="1" latinLnBrk="0" hangingPunct="1">
        <a:spcBef>
          <a:spcPct val="20000"/>
        </a:spcBef>
        <a:buClr>
          <a:srgbClr val="237DAE"/>
        </a:buClr>
        <a:buFont typeface="Arial" panose="020B0604020202020204" pitchFamily="34" charset="0"/>
        <a:buChar char="»"/>
        <a:defRPr sz="134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404801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516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68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221" indent="-218676" algn="l" defTabSz="8740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1pPr>
      <a:lvl2pPr marL="43735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2pPr>
      <a:lvl3pPr marL="874067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3pPr>
      <a:lvl4pPr marL="131142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4877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86125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622840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3060192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4" algn="l" defTabSz="874067" rtl="0" eaLnBrk="1" latinLnBrk="0" hangingPunct="1"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2"/>
            <a:ext cx="12241213" cy="900095"/>
          </a:xfrm>
          <a:prstGeom prst="rect">
            <a:avLst/>
          </a:prstGeom>
          <a:noFill/>
        </p:spPr>
      </p:pic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10723479" y="6615198"/>
            <a:ext cx="1373791" cy="44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2792" y="25486"/>
            <a:ext cx="10507374" cy="555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2793" y="900073"/>
            <a:ext cx="11700127" cy="5532478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1277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B8CBA3BE-3236-4ADB-A207-F386C99C43F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2019/12/2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83063" y="6673851"/>
            <a:ext cx="3875087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72526" y="6673851"/>
            <a:ext cx="2855913" cy="384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4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61453"/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1061453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409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8" r:id="rId10"/>
    <p:sldLayoutId id="2147484259" r:id="rId11"/>
    <p:sldLayoutId id="2147484260" r:id="rId12"/>
    <p:sldLayoutId id="2147484263" r:id="rId13"/>
  </p:sldLayoutIdLst>
  <p:txStyles>
    <p:titleStyle>
      <a:lvl1pPr algn="l" defTabSz="874359" rtl="0" eaLnBrk="1" latinLnBrk="0" hangingPunct="1">
        <a:spcBef>
          <a:spcPct val="0"/>
        </a:spcBef>
        <a:buNone/>
        <a:defRPr sz="2581" b="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7884" indent="-327884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1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10416" indent="-273237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2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92947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3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3012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67306" indent="-218590" algn="l" defTabSz="874359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8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404485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6pPr>
      <a:lvl7pPr marL="284166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7pPr>
      <a:lvl8pPr marL="3278843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8pPr>
      <a:lvl9pPr marL="3716022" indent="-218590" algn="l" defTabSz="874359" rtl="0" eaLnBrk="1" latinLnBrk="0" hangingPunct="1">
        <a:spcBef>
          <a:spcPct val="20000"/>
        </a:spcBef>
        <a:buFont typeface="Arial" pitchFamily="34" charset="0"/>
        <a:buChar char="•"/>
        <a:defRPr sz="19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717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4359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1537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8716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5895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3074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60253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7432" algn="l" defTabSz="874359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baidu.com/pages/viewpage.action?pageId=317151540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6.xml"/><Relationship Id="rId6" Type="http://schemas.openxmlformats.org/officeDocument/2006/relationships/image" Target="../media/image21.png"/><Relationship Id="rId5" Type="http://schemas.openxmlformats.org/officeDocument/2006/relationships/hyperlink" Target="http://wiki.baidu.com/pages/viewpage.action?pageId=915420858" TargetMode="External"/><Relationship Id="rId4" Type="http://schemas.openxmlformats.org/officeDocument/2006/relationships/hyperlink" Target="http://wiki.baidu.com/pages/viewpage.action?pageId=489556202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baidu.com/pages/viewpage.action?pageId=758039194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6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6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06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6.xml"/><Relationship Id="rId4" Type="http://schemas.openxmlformats.org/officeDocument/2006/relationships/hyperlink" Target="http://wiki.baidu.com/pages/viewpage.action?pageId=729033733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baidu.com/pages/viewpage.action?pageId=764172208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6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itp.baidu.com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6.xml"/><Relationship Id="rId6" Type="http://schemas.openxmlformats.org/officeDocument/2006/relationships/image" Target="../media/image21.png"/><Relationship Id="rId5" Type="http://schemas.openxmlformats.org/officeDocument/2006/relationships/hyperlink" Target="http://wiki.baidu.com/pages/viewpage.action?pageId=489556202" TargetMode="External"/><Relationship Id="rId4" Type="http://schemas.openxmlformats.org/officeDocument/2006/relationships/hyperlink" Target="http://agroup.baidu.com/itp/md/article/133851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249437" y="160115"/>
            <a:ext cx="11705355" cy="688568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91771" tIns="45886" rIns="91771" bIns="45886" rtlCol="0" anchor="ctr"/>
          <a:lstStyle/>
          <a:p>
            <a:pPr algn="ctr" defTabSz="874002">
              <a:defRPr/>
            </a:pPr>
            <a:endParaRPr lang="zh-CN" altLang="en-US" sz="1707" kern="0" dirty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673395" y="160115"/>
            <a:ext cx="2894431" cy="135256"/>
            <a:chOff x="2971800" y="1458310"/>
            <a:chExt cx="2380594" cy="102476"/>
          </a:xfrm>
        </p:grpSpPr>
        <p:sp>
          <p:nvSpPr>
            <p:cNvPr id="47" name="矩形 46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74002">
                <a:defRPr/>
              </a:pPr>
              <a:endParaRPr lang="zh-CN" altLang="en-US" sz="1707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74002">
                <a:defRPr/>
              </a:pPr>
              <a:endParaRPr lang="zh-CN" altLang="en-US" sz="1707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67931" y="528126"/>
            <a:ext cx="1384948" cy="445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-1" y="2498761"/>
            <a:ext cx="12241213" cy="2409956"/>
          </a:xfrm>
          <a:prstGeom prst="rect">
            <a:avLst/>
          </a:prstGeom>
          <a:solidFill>
            <a:schemeClr val="accent5">
              <a:lumMod val="75000"/>
              <a:alpha val="92157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344101" tIns="68821" rIns="103231" bIns="68821" anchor="ctr"/>
          <a:lstStyle/>
          <a:p>
            <a:pPr algn="ctr">
              <a:lnSpc>
                <a:spcPct val="150000"/>
              </a:lnSpc>
            </a:pPr>
            <a:r>
              <a:rPr lang="en-US" altLang="zh-Hans" sz="3600" b="1" dirty="0">
                <a:solidFill>
                  <a:prstClr val="white"/>
                </a:solidFill>
                <a:latin typeface="+mj-ea"/>
                <a:ea typeface="+mj-ea"/>
              </a:rPr>
              <a:t>Go</a:t>
            </a:r>
            <a:r>
              <a:rPr lang="zh-Hans" altLang="en-US" sz="3600" b="1" dirty="0">
                <a:solidFill>
                  <a:prstClr val="white"/>
                </a:solidFill>
                <a:latin typeface="+mj-ea"/>
                <a:ea typeface="+mj-ea"/>
              </a:rPr>
              <a:t>语言项目工程能力及</a:t>
            </a:r>
            <a:r>
              <a:rPr lang="en-US" altLang="zh-Hans" sz="3600" b="1" dirty="0">
                <a:solidFill>
                  <a:prstClr val="white"/>
                </a:solidFill>
                <a:latin typeface="+mj-ea"/>
                <a:ea typeface="+mj-ea"/>
              </a:rPr>
              <a:t>CI</a:t>
            </a:r>
            <a:r>
              <a:rPr lang="zh-Hans" altLang="en-US" sz="3600" b="1" dirty="0">
                <a:solidFill>
                  <a:prstClr val="white"/>
                </a:solidFill>
                <a:latin typeface="+mj-ea"/>
                <a:ea typeface="+mj-ea"/>
              </a:rPr>
              <a:t>工具链建议</a:t>
            </a:r>
          </a:p>
          <a:p>
            <a:pPr marL="5400000" algn="ctr">
              <a:lnSpc>
                <a:spcPct val="150000"/>
              </a:lnSpc>
            </a:pPr>
            <a:r>
              <a:rPr lang="zh-Hans" altLang="en-US" sz="1800" b="1" dirty="0">
                <a:solidFill>
                  <a:prstClr val="white"/>
                </a:solidFill>
                <a:latin typeface="+mj-ea"/>
                <a:ea typeface="+mj-ea"/>
              </a:rPr>
              <a:t>宿瀚元</a:t>
            </a:r>
            <a:endParaRPr lang="en-US" altLang="zh-CN" sz="1800" b="1" dirty="0">
              <a:solidFill>
                <a:prstClr val="white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676120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测试（</a:t>
            </a:r>
            <a:r>
              <a:rPr lang="en-US" altLang="zh-Hans" sz="2400" b="1" dirty="0"/>
              <a:t>2</a:t>
            </a:r>
            <a:r>
              <a:rPr lang="zh-Hans" altLang="en-US" sz="2400" b="1" dirty="0"/>
              <a:t>）</a:t>
            </a:r>
            <a:endParaRPr lang="zh-CN" altLang="en-US" sz="2400" b="1" dirty="0"/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67F71361-18E7-2144-9605-BE8545CAF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277257"/>
              </p:ext>
            </p:extLst>
          </p:nvPr>
        </p:nvGraphicFramePr>
        <p:xfrm>
          <a:off x="2575448" y="864147"/>
          <a:ext cx="9161782" cy="5112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4958">
                  <a:extLst>
                    <a:ext uri="{9D8B030D-6E8A-4147-A177-3AD203B41FA5}">
                      <a16:colId xmlns:a16="http://schemas.microsoft.com/office/drawing/2014/main" val="2368420909"/>
                    </a:ext>
                  </a:extLst>
                </a:gridCol>
                <a:gridCol w="3393992">
                  <a:extLst>
                    <a:ext uri="{9D8B030D-6E8A-4147-A177-3AD203B41FA5}">
                      <a16:colId xmlns:a16="http://schemas.microsoft.com/office/drawing/2014/main" val="3953825932"/>
                    </a:ext>
                  </a:extLst>
                </a:gridCol>
                <a:gridCol w="4022832">
                  <a:extLst>
                    <a:ext uri="{9D8B030D-6E8A-4147-A177-3AD203B41FA5}">
                      <a16:colId xmlns:a16="http://schemas.microsoft.com/office/drawing/2014/main" val="635139332"/>
                    </a:ext>
                  </a:extLst>
                </a:gridCol>
              </a:tblGrid>
              <a:tr h="462093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534908"/>
                  </a:ext>
                </a:extLst>
              </a:tr>
              <a:tr h="875041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全量静态代码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Han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gBye</a:t>
                      </a:r>
                    </a:p>
                    <a:p>
                      <a:r>
                        <a:rPr lang="en" altLang="zh-CN" sz="1400" dirty="0">
                          <a:hlinkClick r:id="rId3"/>
                        </a:rPr>
                        <a:t>http://wiki.baidu.com/pages/viewpage.action?pageId=317151540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已配置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8758214"/>
                  </a:ext>
                </a:extLst>
              </a:tr>
              <a:tr h="875041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性能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压力云，已支持相关协议，详见：</a:t>
                      </a:r>
                      <a:endParaRPr lang="en" altLang="zh-CN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hlinkClick r:id="rId4"/>
                      </a:endParaRPr>
                    </a:p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http://</a:t>
                      </a:r>
                      <a:r>
                        <a:rPr lang="en" altLang="zh-CN" sz="1400" dirty="0">
                          <a:hlinkClick r:id="rId4"/>
                        </a:rPr>
                        <a:t>wiki.baidu.com/pages/viewpage.action?pageId=489556202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同压力测试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9994466"/>
                  </a:ext>
                </a:extLst>
              </a:tr>
              <a:tr h="619821"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DIFF</a:t>
                      </a:r>
                      <a:r>
                        <a:rPr lang="zh-Hans" altLang="en-US" sz="1400" dirty="0"/>
                        <a:t>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Hans" sz="1400" dirty="0">
                          <a:solidFill>
                            <a:schemeClr val="tx1"/>
                          </a:solidFill>
                        </a:rPr>
                        <a:t>XSTP</a:t>
                      </a:r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，若偏向功能验证，可使用</a:t>
                      </a:r>
                      <a:r>
                        <a:rPr lang="en-US" altLang="zh-Hans" sz="1400" dirty="0">
                          <a:solidFill>
                            <a:schemeClr val="tx1"/>
                          </a:solidFill>
                        </a:rPr>
                        <a:t>ITP</a:t>
                      </a:r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，但仅能点亮自动化回归阶段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无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3294513"/>
                  </a:ext>
                </a:extLst>
              </a:tr>
              <a:tr h="468510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异常测试</a:t>
                      </a:r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altLang="zh-Hans" sz="1400" dirty="0">
                          <a:solidFill>
                            <a:schemeClr val="tx1"/>
                          </a:solidFill>
                        </a:rPr>
                        <a:t>XSTP</a:t>
                      </a:r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已支持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无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3551354"/>
                  </a:ext>
                </a:extLst>
              </a:tr>
              <a:tr h="468510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稳定性测试</a:t>
                      </a:r>
                      <a:endParaRPr lang="zh-CN" altLang="en-US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213660"/>
                  </a:ext>
                </a:extLst>
              </a:tr>
              <a:tr h="468510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逻辑漏洞检测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无工具支持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0860033"/>
                  </a:ext>
                </a:extLst>
              </a:tr>
              <a:tr h="875041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灰盒安全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rgbClr val="FF0000"/>
                          </a:solidFill>
                        </a:rPr>
                        <a:t>暂时不支持</a:t>
                      </a:r>
                      <a:r>
                        <a:rPr lang="en-US" altLang="zh-Hans" sz="1400" dirty="0">
                          <a:solidFill>
                            <a:srgbClr val="FF0000"/>
                          </a:solidFill>
                        </a:rPr>
                        <a:t>GO</a:t>
                      </a:r>
                      <a:r>
                        <a:rPr lang="zh-Hans" altLang="en-US" sz="1400" dirty="0">
                          <a:solidFill>
                            <a:srgbClr val="FF0000"/>
                          </a:solidFill>
                        </a:rPr>
                        <a:t>语言</a:t>
                      </a:r>
                      <a:endParaRPr lang="en-US" altLang="zh-Hans" sz="1400" dirty="0">
                        <a:solidFill>
                          <a:srgbClr val="FF0000"/>
                        </a:solidFill>
                      </a:endParaRPr>
                    </a:p>
                    <a:p>
                      <a:r>
                        <a:rPr lang="en" altLang="zh-CN" sz="1400" dirty="0">
                          <a:hlinkClick r:id="rId5"/>
                        </a:rPr>
                        <a:t>http://wiki.baidu.com/pages/viewpage.action?pageId=915420858</a:t>
                      </a:r>
                      <a:endParaRPr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rgbClr val="FF0000"/>
                          </a:solidFill>
                        </a:rPr>
                        <a:t>无</a:t>
                      </a:r>
                      <a:endParaRPr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722198"/>
                  </a:ext>
                </a:extLst>
              </a:tr>
            </a:tbl>
          </a:graphicData>
        </a:graphic>
      </p:graphicFrame>
      <p:pic>
        <p:nvPicPr>
          <p:cNvPr id="24" name="图片 23">
            <a:extLst>
              <a:ext uri="{FF2B5EF4-FFF2-40B4-BE49-F238E27FC236}">
                <a16:creationId xmlns:a16="http://schemas.microsoft.com/office/drawing/2014/main" id="{E7E9F7AE-B7A8-7049-AAE5-3AD7600A66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950" y="867335"/>
            <a:ext cx="2273300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593269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上线</a:t>
            </a:r>
            <a:r>
              <a:rPr lang="en-US" altLang="zh-Hans" sz="2400" b="1" dirty="0"/>
              <a:t>&amp;</a:t>
            </a:r>
            <a:r>
              <a:rPr lang="zh-Hans" altLang="en-US" sz="2400" b="1" dirty="0"/>
              <a:t>验证</a:t>
            </a:r>
            <a:endParaRPr lang="zh-CN" altLang="en-US" sz="2400" b="1" dirty="0"/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67F71361-18E7-2144-9605-BE8545CAF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885287"/>
              </p:ext>
            </p:extLst>
          </p:nvPr>
        </p:nvGraphicFramePr>
        <p:xfrm>
          <a:off x="2575448" y="864147"/>
          <a:ext cx="9283312" cy="2937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4958">
                  <a:extLst>
                    <a:ext uri="{9D8B030D-6E8A-4147-A177-3AD203B41FA5}">
                      <a16:colId xmlns:a16="http://schemas.microsoft.com/office/drawing/2014/main" val="2368420909"/>
                    </a:ext>
                  </a:extLst>
                </a:gridCol>
                <a:gridCol w="3462160">
                  <a:extLst>
                    <a:ext uri="{9D8B030D-6E8A-4147-A177-3AD203B41FA5}">
                      <a16:colId xmlns:a16="http://schemas.microsoft.com/office/drawing/2014/main" val="3953825932"/>
                    </a:ext>
                  </a:extLst>
                </a:gridCol>
                <a:gridCol w="4076194">
                  <a:extLst>
                    <a:ext uri="{9D8B030D-6E8A-4147-A177-3AD203B41FA5}">
                      <a16:colId xmlns:a16="http://schemas.microsoft.com/office/drawing/2014/main" val="2677236088"/>
                    </a:ext>
                  </a:extLst>
                </a:gridCol>
              </a:tblGrid>
              <a:tr h="386302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现状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534908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包管理规范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Han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r>
                        <a:rPr kumimoji="1" lang="zh-Hans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支持</a:t>
                      </a:r>
                      <a:endParaRPr kumimoji="1" lang="en-US" altLang="zh-Han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400" dirty="0">
                          <a:hlinkClick r:id="rId3"/>
                        </a:rPr>
                        <a:t>http://wiki.baidu.com/pages/viewpage.action?pageId=758039194</a:t>
                      </a:r>
                      <a:endParaRPr kumimoji="1"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已采用</a:t>
                      </a:r>
                      <a:endParaRPr kumimoji="1"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488427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自动检测能力</a:t>
                      </a:r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zh-Hans" altLang="en-US" sz="1400" dirty="0"/>
                        <a:t>基于</a:t>
                      </a:r>
                      <a:r>
                        <a:rPr lang="en-US" altLang="zh-Hans" sz="1400" dirty="0"/>
                        <a:t>863</a:t>
                      </a:r>
                      <a:r>
                        <a:rPr lang="zh-Hans" altLang="en-US" sz="1400" dirty="0"/>
                        <a:t>的各发布平台</a:t>
                      </a:r>
                      <a:endParaRPr lang="en-US" altLang="zh-Han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zh-Hans" altLang="en-US" sz="1400" dirty="0"/>
                        <a:t>贴吧：</a:t>
                      </a:r>
                      <a:r>
                        <a:rPr lang="en-US" altLang="zh-Hans" sz="1400" dirty="0" err="1"/>
                        <a:t>orcp</a:t>
                      </a:r>
                      <a:r>
                        <a:rPr lang="zh-Hans" altLang="en-US" sz="1400" dirty="0"/>
                        <a:t>，和</a:t>
                      </a:r>
                      <a:r>
                        <a:rPr lang="en-US" altLang="zh-Hans" sz="1400" dirty="0"/>
                        <a:t>agile</a:t>
                      </a:r>
                      <a:r>
                        <a:rPr lang="zh-Hans" altLang="en-US" sz="1400" dirty="0"/>
                        <a:t>打通</a:t>
                      </a:r>
                      <a:endParaRPr lang="en-US" altLang="zh-Hans" sz="1400" dirty="0"/>
                    </a:p>
                    <a:p>
                      <a:r>
                        <a:rPr lang="zh-Hans" altLang="en-US" sz="1400" dirty="0"/>
                        <a:t>小程序：</a:t>
                      </a:r>
                      <a:r>
                        <a:rPr lang="en-US" altLang="zh-Hans" sz="1400" dirty="0"/>
                        <a:t>ope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5653390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分级部署能力</a:t>
                      </a:r>
                      <a:endParaRPr lang="zh-CN" altLang="en-US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73460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容量评估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缺少，但对于微服务架构来说，是非常有必要的环节</a:t>
                      </a:r>
                      <a:endParaRPr kumimoji="1" lang="en-US" altLang="zh-CN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>
                          <a:solidFill>
                            <a:schemeClr val="tx1"/>
                          </a:solidFill>
                        </a:rPr>
                        <a:t>无</a:t>
                      </a:r>
                      <a:endParaRPr kumimoji="1" lang="en-US" altLang="zh-C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979065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线上安全监测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部分支持，啄木鸟、</a:t>
                      </a:r>
                      <a:r>
                        <a:rPr lang="en-US" altLang="zh-Han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FE-WAF</a:t>
                      </a:r>
                      <a:r>
                        <a:rPr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支持，</a:t>
                      </a:r>
                      <a:r>
                        <a:rPr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蜂鸟</a:t>
                      </a:r>
                      <a:r>
                        <a:rPr lang="en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Rasp</a:t>
                      </a:r>
                      <a:r>
                        <a:rPr lang="zh-Hans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不支持</a:t>
                      </a:r>
                      <a:endParaRPr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无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8758214"/>
                  </a:ext>
                </a:extLst>
              </a:tr>
            </a:tbl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7447512F-62F5-0840-98E0-3EE1EE997D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950" y="864147"/>
            <a:ext cx="2120900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34496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需跟进或进行中的工作</a:t>
            </a:r>
            <a:endParaRPr lang="zh-CN" altLang="en-US" sz="2400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1CA3268-ED3D-1540-93C9-12B37611E750}"/>
              </a:ext>
            </a:extLst>
          </p:cNvPr>
          <p:cNvSpPr txBox="1"/>
          <p:nvPr/>
        </p:nvSpPr>
        <p:spPr>
          <a:xfrm>
            <a:off x="792014" y="1152178"/>
            <a:ext cx="9114996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zh-Hans" altLang="en-US" dirty="0"/>
              <a:t>长连接类接口的压力测试问题（压力云）</a:t>
            </a:r>
            <a:endParaRPr kumimoji="1" lang="en-US" altLang="zh-Han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Hans" dirty="0"/>
              <a:t>XSTP</a:t>
            </a:r>
            <a:r>
              <a:rPr kumimoji="1" lang="zh-Hans" altLang="en-US" dirty="0"/>
              <a:t>对环境支持提供具体方案文档</a:t>
            </a:r>
            <a:endParaRPr kumimoji="1" lang="en-US" altLang="zh-Han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Hans" dirty="0"/>
              <a:t>ITP</a:t>
            </a:r>
            <a:r>
              <a:rPr kumimoji="1" lang="zh-Hans" altLang="en-US" dirty="0"/>
              <a:t>、</a:t>
            </a:r>
            <a:r>
              <a:rPr kumimoji="1" lang="en-US" altLang="zh-Hans" dirty="0" err="1"/>
              <a:t>Pdiff</a:t>
            </a:r>
            <a:r>
              <a:rPr kumimoji="1" lang="zh-Hans" altLang="en-US" dirty="0"/>
              <a:t>、</a:t>
            </a:r>
            <a:r>
              <a:rPr kumimoji="1" lang="en-US" altLang="zh-Hans" dirty="0"/>
              <a:t>Robot+</a:t>
            </a:r>
            <a:r>
              <a:rPr kumimoji="1" lang="zh-Hans" altLang="en-US" dirty="0"/>
              <a:t>共存，建议有整合方案</a:t>
            </a:r>
            <a:endParaRPr kumimoji="1" lang="en-US" altLang="zh-Han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zh-Hans" altLang="en-US" dirty="0"/>
              <a:t>容量评估方面，建议有解决方案</a:t>
            </a:r>
            <a:endParaRPr kumimoji="1" lang="en-US" altLang="zh-Han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zh-Hans" altLang="en-US" dirty="0"/>
              <a:t>安全测试猫头鹰</a:t>
            </a:r>
            <a:r>
              <a:rPr kumimoji="1" lang="en-US" altLang="zh-Hans" dirty="0"/>
              <a:t>Q4</a:t>
            </a:r>
            <a:r>
              <a:rPr kumimoji="1" lang="zh-Hans" altLang="en-US" dirty="0"/>
              <a:t>支持，需观察问题情况，看是否有需要跟进的工作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035997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切换</a:t>
            </a:r>
            <a:r>
              <a:rPr lang="en-US" altLang="zh-Hans" sz="2400" b="1" dirty="0"/>
              <a:t>Go</a:t>
            </a:r>
            <a:r>
              <a:rPr lang="zh-Hans" altLang="en-US" sz="2400" b="1" dirty="0"/>
              <a:t>语言后微服务带来的测试问题</a:t>
            </a:r>
            <a:endParaRPr lang="zh-CN" altLang="en-US" sz="2400" b="1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16ACAB3-622C-B24C-A333-C48A6B83E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198" y="1872258"/>
            <a:ext cx="6501752" cy="374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89989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容灾</a:t>
            </a:r>
            <a:r>
              <a:rPr lang="en-US" altLang="zh-Hans" sz="2400" b="1" dirty="0"/>
              <a:t>/</a:t>
            </a:r>
            <a:r>
              <a:rPr lang="zh-Hans" altLang="en-US" sz="2400" b="1" dirty="0"/>
              <a:t>可用性</a:t>
            </a:r>
            <a:r>
              <a:rPr lang="en-US" altLang="zh-Hans" sz="2400" b="1" dirty="0"/>
              <a:t>/</a:t>
            </a:r>
            <a:r>
              <a:rPr lang="zh-Hans" altLang="en-US" sz="2400" b="1" dirty="0"/>
              <a:t>降级</a:t>
            </a:r>
            <a:r>
              <a:rPr lang="en-US" altLang="zh-Hans" sz="2400" b="1" dirty="0"/>
              <a:t>/</a:t>
            </a:r>
            <a:r>
              <a:rPr lang="zh-Hans" altLang="en-US" sz="2400" b="1" dirty="0"/>
              <a:t>熔断</a:t>
            </a:r>
            <a:endParaRPr lang="zh-CN" altLang="en-US" sz="2400" b="1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347C7F5-79AA-A841-974D-9136AC66961C}"/>
              </a:ext>
            </a:extLst>
          </p:cNvPr>
          <p:cNvSpPr txBox="1"/>
          <p:nvPr/>
        </p:nvSpPr>
        <p:spPr>
          <a:xfrm>
            <a:off x="282605" y="1523116"/>
            <a:ext cx="48013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从传统业务系统测试转型后，常被忽视的测试</a:t>
            </a:r>
            <a:endParaRPr kumimoji="1"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8711F1F-321B-104F-82D7-D55160BD50C6}"/>
              </a:ext>
            </a:extLst>
          </p:cNvPr>
          <p:cNvSpPr txBox="1"/>
          <p:nvPr/>
        </p:nvSpPr>
        <p:spPr>
          <a:xfrm>
            <a:off x="839035" y="2180354"/>
            <a:ext cx="3264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对于基础能力，如</a:t>
            </a:r>
            <a:r>
              <a:rPr kumimoji="1" lang="en-US" altLang="zh-Hans" dirty="0"/>
              <a:t>PAAS</a:t>
            </a:r>
            <a:r>
              <a:rPr kumimoji="1" lang="zh-Hans" altLang="en-US" dirty="0"/>
              <a:t>类能力</a:t>
            </a:r>
            <a:endParaRPr kumimoji="1"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44A9F0B-3B91-4B48-8331-B6FCA0C60C00}"/>
              </a:ext>
            </a:extLst>
          </p:cNvPr>
          <p:cNvSpPr txBox="1"/>
          <p:nvPr/>
        </p:nvSpPr>
        <p:spPr>
          <a:xfrm>
            <a:off x="839035" y="2617347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对于微服务自身</a:t>
            </a:r>
            <a:endParaRPr kumimoji="1" lang="zh-CN" altLang="en-US" dirty="0"/>
          </a:p>
        </p:txBody>
      </p:sp>
      <p:sp>
        <p:nvSpPr>
          <p:cNvPr id="9" name="左大括号 8">
            <a:extLst>
              <a:ext uri="{FF2B5EF4-FFF2-40B4-BE49-F238E27FC236}">
                <a16:creationId xmlns:a16="http://schemas.microsoft.com/office/drawing/2014/main" id="{BF75B1B4-C236-C64F-98EE-D6E8A0376D37}"/>
              </a:ext>
            </a:extLst>
          </p:cNvPr>
          <p:cNvSpPr/>
          <p:nvPr/>
        </p:nvSpPr>
        <p:spPr>
          <a:xfrm>
            <a:off x="459357" y="2365021"/>
            <a:ext cx="233825" cy="402816"/>
          </a:xfrm>
          <a:prstGeom prst="leftBrac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3F9B83A-6BE5-4E47-9466-6C470CC2C09C}"/>
              </a:ext>
            </a:extLst>
          </p:cNvPr>
          <p:cNvSpPr txBox="1"/>
          <p:nvPr/>
        </p:nvSpPr>
        <p:spPr>
          <a:xfrm>
            <a:off x="4707399" y="243268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从不同层面保证</a:t>
            </a:r>
            <a:endParaRPr kumimoji="1"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C92EB11-E9D3-F24B-A789-FCC5AA22F726}"/>
              </a:ext>
            </a:extLst>
          </p:cNvPr>
          <p:cNvSpPr txBox="1"/>
          <p:nvPr/>
        </p:nvSpPr>
        <p:spPr>
          <a:xfrm>
            <a:off x="359966" y="3240410"/>
            <a:ext cx="987962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b="1" dirty="0"/>
              <a:t>可用性</a:t>
            </a:r>
            <a:r>
              <a:rPr lang="zh-CN" altLang="en-US" dirty="0"/>
              <a:t>：某个服务出现异常的时候，业务能够正常处理，服务恢复时，用户流程可以继续进行</a:t>
            </a:r>
            <a:endParaRPr lang="en-US" altLang="zh-CN" dirty="0"/>
          </a:p>
          <a:p>
            <a:r>
              <a:rPr lang="zh-CN" altLang="en-US" b="1" dirty="0"/>
              <a:t>熔断</a:t>
            </a:r>
            <a:r>
              <a:rPr lang="zh-CN" altLang="en-US" dirty="0"/>
              <a:t>：从性能角度，当系统负载达到某个熔断状态的时候，服务是否能正确熔断；</a:t>
            </a:r>
            <a:endParaRPr lang="en-US" altLang="zh-CN" dirty="0"/>
          </a:p>
          <a:p>
            <a:r>
              <a:rPr lang="zh-CN" altLang="en-US" dirty="0"/>
              <a:t>同时，从功能角度验证熔断后系统的行为是否跟预期相符； </a:t>
            </a:r>
            <a:endParaRPr lang="en-US" altLang="zh-CN" dirty="0"/>
          </a:p>
          <a:p>
            <a:r>
              <a:rPr lang="zh-CN" altLang="en-US" b="1" dirty="0"/>
              <a:t>降级</a:t>
            </a:r>
            <a:r>
              <a:rPr lang="zh-CN" altLang="en-US" dirty="0"/>
              <a:t>：从业务的角度，要能区分出核心业务和外围业务，在需要降级的时候不能影响核心业务；</a:t>
            </a:r>
            <a:endParaRPr lang="en-US" altLang="zh-CN" dirty="0"/>
          </a:p>
          <a:p>
            <a:r>
              <a:rPr lang="zh-CN" altLang="en-US" dirty="0"/>
              <a:t>当某个服务降级后，从功能角度验证系统行为是否跟预期相符。</a:t>
            </a:r>
          </a:p>
        </p:txBody>
      </p:sp>
      <p:sp>
        <p:nvSpPr>
          <p:cNvPr id="12" name="下箭头 11">
            <a:extLst>
              <a:ext uri="{FF2B5EF4-FFF2-40B4-BE49-F238E27FC236}">
                <a16:creationId xmlns:a16="http://schemas.microsoft.com/office/drawing/2014/main" id="{955F1797-B5BC-DE4D-9D4D-12329C669B62}"/>
              </a:ext>
            </a:extLst>
          </p:cNvPr>
          <p:cNvSpPr/>
          <p:nvPr/>
        </p:nvSpPr>
        <p:spPr>
          <a:xfrm>
            <a:off x="1361594" y="4971469"/>
            <a:ext cx="755374" cy="29817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8B5703F2-2812-484A-B191-B7E266D2BFFE}"/>
              </a:ext>
            </a:extLst>
          </p:cNvPr>
          <p:cNvSpPr txBox="1"/>
          <p:nvPr/>
        </p:nvSpPr>
        <p:spPr>
          <a:xfrm>
            <a:off x="653247" y="5523374"/>
            <a:ext cx="39725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结合容器部署，异常构造，流量模拟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0272193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自动化</a:t>
            </a:r>
            <a:endParaRPr lang="zh-CN" altLang="en-US" sz="2400" b="1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10007769-ED84-AC48-8CCE-C203CF22C1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767" y="1583204"/>
            <a:ext cx="4470400" cy="447040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B13E6975-0DCE-454A-BA86-6C7D1959AB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7447" y="2448322"/>
            <a:ext cx="4175014" cy="274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049870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自动化</a:t>
            </a:r>
            <a:endParaRPr lang="zh-CN" altLang="en-US" sz="2400" b="1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72F7049-2DBB-D64F-8CB1-0FFEAC656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270" y="1440210"/>
            <a:ext cx="7742903" cy="411480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D3B739A8-E3F9-0647-B016-B2EDE91527F3}"/>
              </a:ext>
            </a:extLst>
          </p:cNvPr>
          <p:cNvSpPr/>
          <p:nvPr/>
        </p:nvSpPr>
        <p:spPr>
          <a:xfrm>
            <a:off x="3197870" y="2637185"/>
            <a:ext cx="2032000" cy="172085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EE1581-22C8-AE4A-BD38-97670DAA006B}"/>
              </a:ext>
            </a:extLst>
          </p:cNvPr>
          <p:cNvSpPr txBox="1"/>
          <p:nvPr/>
        </p:nvSpPr>
        <p:spPr>
          <a:xfrm>
            <a:off x="1611568" y="5555010"/>
            <a:ext cx="16369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600" dirty="0">
                <a:solidFill>
                  <a:srgbClr val="FF0000"/>
                </a:solidFill>
              </a:rPr>
              <a:t>3.</a:t>
            </a:r>
            <a:r>
              <a:rPr kumimoji="1" lang="zh-Hans" altLang="en-US" sz="1600" dirty="0">
                <a:solidFill>
                  <a:srgbClr val="FF0000"/>
                </a:solidFill>
              </a:rPr>
              <a:t>解决</a:t>
            </a:r>
            <a:r>
              <a:rPr kumimoji="1" lang="en-US" altLang="zh-Hans" sz="1600" dirty="0">
                <a:solidFill>
                  <a:srgbClr val="FF0000"/>
                </a:solidFill>
              </a:rPr>
              <a:t>mock</a:t>
            </a:r>
            <a:r>
              <a:rPr kumimoji="1" lang="zh-Hans" altLang="en-US" sz="1600" dirty="0">
                <a:solidFill>
                  <a:srgbClr val="FF0000"/>
                </a:solidFill>
              </a:rPr>
              <a:t>成本</a:t>
            </a:r>
            <a:endParaRPr kumimoji="1" lang="zh-CN" altLang="en-US" sz="1600" dirty="0">
              <a:solidFill>
                <a:srgbClr val="FF0000"/>
              </a:solidFill>
            </a:endParaRPr>
          </a:p>
        </p:txBody>
      </p:sp>
      <p:cxnSp>
        <p:nvCxnSpPr>
          <p:cNvPr id="8" name="曲线连接符 7">
            <a:extLst>
              <a:ext uri="{FF2B5EF4-FFF2-40B4-BE49-F238E27FC236}">
                <a16:creationId xmlns:a16="http://schemas.microsoft.com/office/drawing/2014/main" id="{296D74B3-AD83-E94A-BBAB-A6D92149D0A4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248555" y="5174011"/>
            <a:ext cx="368415" cy="550276"/>
          </a:xfrm>
          <a:prstGeom prst="curvedConnector2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89D3F950-0FFA-784A-9296-3A6D354D5A4F}"/>
              </a:ext>
            </a:extLst>
          </p:cNvPr>
          <p:cNvSpPr txBox="1"/>
          <p:nvPr/>
        </p:nvSpPr>
        <p:spPr>
          <a:xfrm>
            <a:off x="1564734" y="3787646"/>
            <a:ext cx="1568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600" dirty="0">
                <a:solidFill>
                  <a:srgbClr val="FF0000"/>
                </a:solidFill>
              </a:rPr>
              <a:t>2.</a:t>
            </a:r>
            <a:r>
              <a:rPr kumimoji="1" lang="zh-Hans" altLang="en-US" sz="1600" dirty="0">
                <a:solidFill>
                  <a:srgbClr val="FF0000"/>
                </a:solidFill>
              </a:rPr>
              <a:t>开展契约测试</a:t>
            </a:r>
            <a:endParaRPr kumimoji="1"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F8DA653-CF6A-B54C-922A-E79400D01CE4}"/>
              </a:ext>
            </a:extLst>
          </p:cNvPr>
          <p:cNvSpPr txBox="1"/>
          <p:nvPr/>
        </p:nvSpPr>
        <p:spPr>
          <a:xfrm>
            <a:off x="1127985" y="1312466"/>
            <a:ext cx="28793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600" dirty="0">
                <a:solidFill>
                  <a:srgbClr val="FF0000"/>
                </a:solidFill>
              </a:rPr>
              <a:t>1.</a:t>
            </a:r>
            <a:r>
              <a:rPr kumimoji="1" lang="zh-Hans" altLang="en-US" sz="1600" dirty="0">
                <a:solidFill>
                  <a:srgbClr val="FF0000"/>
                </a:solidFill>
              </a:rPr>
              <a:t>生产环境</a:t>
            </a:r>
            <a:r>
              <a:rPr kumimoji="1" lang="en-US" altLang="zh-Hans" sz="1600" dirty="0">
                <a:solidFill>
                  <a:srgbClr val="FF0000"/>
                </a:solidFill>
              </a:rPr>
              <a:t>QA</a:t>
            </a:r>
            <a:r>
              <a:rPr kumimoji="1" lang="zh-Hans" altLang="en-US" sz="1600" dirty="0">
                <a:solidFill>
                  <a:srgbClr val="FF0000"/>
                </a:solidFill>
              </a:rPr>
              <a:t>，探索测试路径</a:t>
            </a:r>
            <a:endParaRPr kumimoji="1"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158CEB6-4707-7644-80EC-D16CFCC14ADC}"/>
              </a:ext>
            </a:extLst>
          </p:cNvPr>
          <p:cNvSpPr txBox="1"/>
          <p:nvPr/>
        </p:nvSpPr>
        <p:spPr>
          <a:xfrm>
            <a:off x="4588519" y="5710913"/>
            <a:ext cx="77660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Hans" altLang="en-US" sz="1400" dirty="0"/>
              <a:t>思考：</a:t>
            </a:r>
            <a:endParaRPr kumimoji="1" lang="en-US" altLang="zh-Hans" sz="1400" dirty="0"/>
          </a:p>
          <a:p>
            <a:r>
              <a:rPr kumimoji="1" lang="zh-Hans" altLang="en-US" sz="1400" dirty="0"/>
              <a:t>公共层面指导自动化分层、覆盖面、量级等问题</a:t>
            </a:r>
            <a:endParaRPr kumimoji="1" lang="en-US" altLang="zh-Hans" sz="1400" dirty="0"/>
          </a:p>
          <a:p>
            <a:r>
              <a:rPr kumimoji="1" lang="zh-Hans" altLang="en-US" sz="1400" dirty="0"/>
              <a:t>底层自动化没能完成相应的职责，带来端到端测试时的焦虑，及较高的测试投入</a:t>
            </a:r>
            <a:endParaRPr kumimoji="1" lang="zh-CN" altLang="en-US" sz="14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ECFC2AF-27BA-7C48-B77C-347FB1ADC35B}"/>
              </a:ext>
            </a:extLst>
          </p:cNvPr>
          <p:cNvSpPr txBox="1"/>
          <p:nvPr/>
        </p:nvSpPr>
        <p:spPr>
          <a:xfrm>
            <a:off x="1603363" y="2418110"/>
            <a:ext cx="16209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600" dirty="0">
                <a:solidFill>
                  <a:srgbClr val="FF0000"/>
                </a:solidFill>
              </a:rPr>
              <a:t>4.</a:t>
            </a:r>
            <a:r>
              <a:rPr kumimoji="1" lang="zh-Hans" altLang="en-US" sz="1600" dirty="0">
                <a:solidFill>
                  <a:srgbClr val="FF0000"/>
                </a:solidFill>
              </a:rPr>
              <a:t>自动化稳定性</a:t>
            </a:r>
            <a:endParaRPr kumimoji="1" lang="en-US" altLang="zh-Hans" sz="1600" dirty="0">
              <a:solidFill>
                <a:srgbClr val="FF0000"/>
              </a:solidFill>
            </a:endParaRPr>
          </a:p>
          <a:p>
            <a:r>
              <a:rPr kumimoji="1" lang="zh-Hans" altLang="en-US" sz="1600" dirty="0">
                <a:solidFill>
                  <a:srgbClr val="FF0000"/>
                </a:solidFill>
              </a:rPr>
              <a:t>（剥离环境对</a:t>
            </a:r>
            <a:endParaRPr kumimoji="1" lang="en-US" altLang="zh-Hans" sz="1600" dirty="0">
              <a:solidFill>
                <a:srgbClr val="FF0000"/>
              </a:solidFill>
            </a:endParaRPr>
          </a:p>
          <a:p>
            <a:r>
              <a:rPr kumimoji="1" lang="zh-Hans" altLang="en-US" sz="1600" dirty="0">
                <a:solidFill>
                  <a:srgbClr val="FF0000"/>
                </a:solidFill>
              </a:rPr>
              <a:t>自动化的影响）</a:t>
            </a:r>
            <a:endParaRPr kumimoji="1" lang="zh-CN" alt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8926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持续交付</a:t>
            </a:r>
            <a:endParaRPr lang="zh-CN" altLang="en-US" sz="2400" b="1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36EC957-3B18-E94C-8BE1-75A65C9924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32" y="1138950"/>
            <a:ext cx="5536776" cy="292608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4A80A36-863A-5741-A979-A70CBC540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2534" y="3206575"/>
            <a:ext cx="6638834" cy="3788940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1DA60B53-0D43-B947-80F8-967F5AF9EAE1}"/>
              </a:ext>
            </a:extLst>
          </p:cNvPr>
          <p:cNvSpPr txBox="1"/>
          <p:nvPr/>
        </p:nvSpPr>
        <p:spPr>
          <a:xfrm>
            <a:off x="2062690" y="473171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dirty="0"/>
              <a:t>面向持续交付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54051254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en-US" altLang="zh-Hans" sz="2400" b="1" dirty="0"/>
              <a:t>EP</a:t>
            </a:r>
            <a:r>
              <a:rPr lang="zh-Hans" altLang="en-US" sz="2400" b="1" dirty="0"/>
              <a:t>调研跟进或与产品线联合跟进的工作</a:t>
            </a:r>
            <a:endParaRPr lang="zh-CN" altLang="en-US" sz="2400" b="1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B7F1CD2-D8F0-8C4B-ACDC-637E25D6E2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944" y="749745"/>
            <a:ext cx="12103154" cy="64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5608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dirty="0"/>
              <a:t>贴吧</a:t>
            </a:r>
            <a:r>
              <a:rPr lang="en-US" altLang="zh-Hans" sz="2400" dirty="0"/>
              <a:t>-Go</a:t>
            </a:r>
            <a:r>
              <a:rPr lang="zh-Hans" altLang="en-US" sz="2400" dirty="0"/>
              <a:t>语言迁移背景</a:t>
            </a:r>
            <a:endParaRPr lang="zh-CN" altLang="en-US" sz="2400" b="1" dirty="0"/>
          </a:p>
        </p:txBody>
      </p:sp>
      <p:sp>
        <p:nvSpPr>
          <p:cNvPr id="6" name="内容占位符 4">
            <a:extLst>
              <a:ext uri="{FF2B5EF4-FFF2-40B4-BE49-F238E27FC236}">
                <a16:creationId xmlns:a16="http://schemas.microsoft.com/office/drawing/2014/main" id="{95B44978-685F-3849-8F6F-70705E2333DE}"/>
              </a:ext>
            </a:extLst>
          </p:cNvPr>
          <p:cNvSpPr txBox="1">
            <a:spLocks/>
          </p:cNvSpPr>
          <p:nvPr/>
        </p:nvSpPr>
        <p:spPr>
          <a:xfrm>
            <a:off x="575990" y="864146"/>
            <a:ext cx="6015664" cy="550580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CN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成本</a:t>
            </a:r>
            <a:r>
              <a:rPr lang="zh-Hans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（</a:t>
            </a:r>
            <a:r>
              <a:rPr lang="zh-Hans" altLang="en-US" sz="20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机器成本</a:t>
            </a:r>
            <a:r>
              <a:rPr lang="zh-Hans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）</a:t>
            </a:r>
            <a:endParaRPr lang="en-US" altLang="zh-CN" sz="20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2019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年贴吧新增机器预算为</a:t>
            </a:r>
            <a:r>
              <a:rPr lang="en-US" altLang="zh-CN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0</a:t>
            </a: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ORP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机器数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4725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台，占总成本</a:t>
            </a:r>
            <a:r>
              <a:rPr lang="en-US" altLang="zh-CN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38%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【PHP】</a:t>
            </a: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单机流量低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，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PHP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实例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QPS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&lt;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200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，单机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QPS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&lt;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3000</a:t>
            </a:r>
          </a:p>
          <a:p>
            <a:pPr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l"/>
            </a:pPr>
            <a:endParaRPr lang="en-US" altLang="zh-CN" sz="18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CN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架构 </a:t>
            </a:r>
            <a:r>
              <a:rPr lang="en-US" altLang="zh-CN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--&gt;</a:t>
            </a:r>
            <a:r>
              <a:rPr lang="zh-CN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zh-CN" altLang="en-US" sz="20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微服务</a:t>
            </a:r>
            <a:endParaRPr lang="en-US" altLang="zh-CN" sz="20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000000"/>
                </a:solidFill>
                <a:latin typeface="Heiti SC Medium" pitchFamily="2" charset="-128"/>
                <a:ea typeface="Heiti SC Medium" pitchFamily="2" charset="-128"/>
                <a:cs typeface="微软雅黑"/>
              </a:rPr>
              <a:t>业务持续迭代，复杂模块的</a:t>
            </a:r>
            <a:r>
              <a:rPr lang="zh-CN" altLang="en-US" sz="1600" dirty="0">
                <a:latin typeface="Heiti SC Medium" pitchFamily="2" charset="-128"/>
                <a:ea typeface="Heiti SC Medium" pitchFamily="2" charset="-128"/>
              </a:rPr>
              <a:t>一个服务出现问题，影响整体稳定性</a:t>
            </a:r>
            <a:endParaRPr lang="en-US" altLang="zh-CN" sz="1600" dirty="0">
              <a:solidFill>
                <a:srgbClr val="000000"/>
              </a:solidFill>
              <a:latin typeface="Heiti SC Medium" pitchFamily="2" charset="-128"/>
              <a:ea typeface="Heiti SC Medium" pitchFamily="2" charset="-128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9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容器内代码全量部署，打包、发布扩容时间超过</a:t>
            </a:r>
            <a:r>
              <a:rPr lang="en-US" altLang="zh-CN" sz="1609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30</a:t>
            </a:r>
            <a:r>
              <a:rPr lang="zh-CN" altLang="en-US" sz="1609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分钟</a:t>
            </a:r>
            <a:endParaRPr lang="en-US" altLang="zh-CN" sz="1609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9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服务治理封装在基础库或业务代码中，</a:t>
            </a:r>
            <a:r>
              <a:rPr lang="zh-CN" altLang="en-US" sz="1609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侵入性强</a:t>
            </a:r>
            <a:endParaRPr lang="en-US" altLang="zh-CN" sz="1609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marL="435438" lvl="1" indent="0">
              <a:lnSpc>
                <a:spcPts val="2200"/>
              </a:lnSpc>
              <a:buClr>
                <a:schemeClr val="accent1"/>
              </a:buClr>
              <a:buNone/>
            </a:pPr>
            <a:endParaRPr lang="en-US" altLang="zh-CN" sz="1609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CN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兼顾效率</a:t>
            </a:r>
            <a:endParaRPr lang="en-US" altLang="zh-CN" sz="20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支持月级别研发迭代</a:t>
            </a:r>
            <a:endParaRPr lang="en-US" altLang="zh-CN" sz="16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问题追查与维护成本</a:t>
            </a:r>
            <a:endParaRPr lang="en-US" altLang="zh-CN" sz="16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</p:txBody>
      </p:sp>
      <p:graphicFrame>
        <p:nvGraphicFramePr>
          <p:cNvPr id="8" name="图示 7">
            <a:extLst>
              <a:ext uri="{FF2B5EF4-FFF2-40B4-BE49-F238E27FC236}">
                <a16:creationId xmlns:a16="http://schemas.microsoft.com/office/drawing/2014/main" id="{417C1369-5D5E-4749-8648-ADB451D884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2664767"/>
              </p:ext>
            </p:extLst>
          </p:nvPr>
        </p:nvGraphicFramePr>
        <p:xfrm>
          <a:off x="866307" y="5619937"/>
          <a:ext cx="5435029" cy="750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矩形 8">
            <a:extLst>
              <a:ext uri="{FF2B5EF4-FFF2-40B4-BE49-F238E27FC236}">
                <a16:creationId xmlns:a16="http://schemas.microsoft.com/office/drawing/2014/main" id="{26175521-C0C0-FF40-B7E7-0E75706001D8}"/>
              </a:ext>
            </a:extLst>
          </p:cNvPr>
          <p:cNvSpPr/>
          <p:nvPr/>
        </p:nvSpPr>
        <p:spPr>
          <a:xfrm>
            <a:off x="6327183" y="864146"/>
            <a:ext cx="5887092" cy="3759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342900">
              <a:lnSpc>
                <a:spcPct val="11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en-US" altLang="zh-CN" sz="24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CN" sz="2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81057" lvl="2" indent="-34290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特性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代码开源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法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简洁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学习成本低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routine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轻量级线程，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层支持并发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支持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C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V1.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后性能大幅提升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效率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静态语言，</a:t>
            </a:r>
            <a:r>
              <a:rPr lang="zh-CN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执行效率高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与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C++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相比低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20%</a:t>
            </a: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调试成本较高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框架与生态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厂内开发框架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DP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（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非稳定成熟版本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）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框架丰富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Web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框架、日志、存储、中间件等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Docker/Kubernetes/CNCF</a:t>
            </a:r>
          </a:p>
        </p:txBody>
      </p:sp>
    </p:spTree>
    <p:extLst>
      <p:ext uri="{BB962C8B-B14F-4D97-AF65-F5344CB8AC3E}">
        <p14:creationId xmlns:p14="http://schemas.microsoft.com/office/powerpoint/2010/main" val="41828913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内容占位符 4">
            <a:extLst>
              <a:ext uri="{FF2B5EF4-FFF2-40B4-BE49-F238E27FC236}">
                <a16:creationId xmlns:a16="http://schemas.microsoft.com/office/drawing/2014/main" id="{42C89E4D-330B-974C-8CDA-4875470E33EC}"/>
              </a:ext>
            </a:extLst>
          </p:cNvPr>
          <p:cNvSpPr txBox="1">
            <a:spLocks/>
          </p:cNvSpPr>
          <p:nvPr/>
        </p:nvSpPr>
        <p:spPr>
          <a:xfrm>
            <a:off x="287958" y="760127"/>
            <a:ext cx="5601685" cy="545809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809" tIns="45905" rIns="91809" bIns="45905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en-US" altLang="zh-CN" sz="2008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Wordlist</a:t>
            </a:r>
            <a:r>
              <a:rPr lang="zh-CN" altLang="en-US" sz="2008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模块迁移</a:t>
            </a:r>
            <a:endParaRPr lang="en-US" altLang="zh-CN" sz="2008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9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6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特点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词表服务，逻辑简单，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IO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密集型</a:t>
            </a:r>
            <a:endParaRPr lang="en-US" altLang="zh-CN" sz="1606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9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6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流量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45K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QPS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，核心接口占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95%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流量</a:t>
            </a:r>
            <a:endParaRPr lang="en-US" altLang="zh-CN" sz="1606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9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6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资源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占用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230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个实例，占用资源多</a:t>
            </a:r>
            <a:endParaRPr lang="en-US" altLang="zh-CN" sz="1606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9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6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成本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: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3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人月，基础库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+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稳定性监控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+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模块开发</a:t>
            </a:r>
            <a:r>
              <a:rPr lang="en-US" altLang="zh-CN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&amp;</a:t>
            </a:r>
            <a:r>
              <a:rPr lang="zh-CN" altLang="en-US" sz="1606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上线</a:t>
            </a:r>
            <a:endParaRPr lang="en-US" altLang="zh-CN" sz="1606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marL="437180" lvl="1" indent="0">
              <a:lnSpc>
                <a:spcPts val="2209"/>
              </a:lnSpc>
              <a:buClr>
                <a:schemeClr val="accent1"/>
              </a:buClr>
              <a:buNone/>
            </a:pPr>
            <a:endParaRPr lang="en-US" altLang="zh-CN" sz="1606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10E87DF-E24B-6E4B-B4EF-9D7FE4560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4888" y="2719127"/>
            <a:ext cx="2939023" cy="2075685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383FB7C-2BBC-7E40-B8DB-81A208CD7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558" y="2723829"/>
            <a:ext cx="2937330" cy="2070983"/>
          </a:xfrm>
          <a:prstGeom prst="rect">
            <a:avLst/>
          </a:prstGeom>
        </p:spPr>
      </p:pic>
      <p:graphicFrame>
        <p:nvGraphicFramePr>
          <p:cNvPr id="33" name="表格 32">
            <a:extLst>
              <a:ext uri="{FF2B5EF4-FFF2-40B4-BE49-F238E27FC236}">
                <a16:creationId xmlns:a16="http://schemas.microsoft.com/office/drawing/2014/main" id="{1C67D70C-C1AE-0640-B798-8C526C57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74638"/>
              </p:ext>
            </p:extLst>
          </p:nvPr>
        </p:nvGraphicFramePr>
        <p:xfrm>
          <a:off x="449914" y="4944232"/>
          <a:ext cx="5823996" cy="163824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455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59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59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5999">
                  <a:extLst>
                    <a:ext uri="{9D8B030D-6E8A-4147-A177-3AD203B41FA5}">
                      <a16:colId xmlns:a16="http://schemas.microsoft.com/office/drawing/2014/main" val="4215265050"/>
                    </a:ext>
                  </a:extLst>
                </a:gridCol>
              </a:tblGrid>
              <a:tr h="402144">
                <a:tc>
                  <a:txBody>
                    <a:bodyPr/>
                    <a:lstStyle/>
                    <a:p>
                      <a:pPr lvl="0" algn="ctr"/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PHP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Go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dirty="0"/>
                        <a:t>收益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144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QPS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190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1000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+5</a:t>
                      </a:r>
                      <a:r>
                        <a:rPr lang="zh-CN" altLang="en-US" sz="1600" dirty="0">
                          <a:solidFill>
                            <a:srgbClr val="FF0000"/>
                          </a:solidFill>
                        </a:rPr>
                        <a:t>倍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marL="91809" marR="91809" marT="45905" marB="4590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144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Cost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11ms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4ms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-63%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marL="91809" marR="91809" marT="45905" marB="4590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808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Instance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230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47</a:t>
                      </a:r>
                      <a:endParaRPr lang="zh-CN" altLang="en-US" sz="1600" b="0" dirty="0"/>
                    </a:p>
                  </a:txBody>
                  <a:tcPr marL="91809" marR="91809" marT="45905" marB="45905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-79%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marL="91809" marR="91809" marT="45905" marB="4590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4BA91916-FFD5-B24E-8BAC-FFD1522E14AB}"/>
              </a:ext>
            </a:extLst>
          </p:cNvPr>
          <p:cNvSpPr txBox="1"/>
          <p:nvPr/>
        </p:nvSpPr>
        <p:spPr>
          <a:xfrm>
            <a:off x="9419865" y="7534180"/>
            <a:ext cx="185477" cy="309019"/>
          </a:xfrm>
          <a:prstGeom prst="rect">
            <a:avLst/>
          </a:prstGeom>
          <a:ln w="9525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l"/>
            <a:endParaRPr kumimoji="1" lang="zh-CN" altLang="en-US" sz="1406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9DBDA016-A0E6-B040-8124-3C6D35B1C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dirty="0"/>
              <a:t>贴吧</a:t>
            </a:r>
            <a:r>
              <a:rPr lang="en-US" altLang="zh-Hans" sz="2400" dirty="0"/>
              <a:t>-Go</a:t>
            </a:r>
            <a:r>
              <a:rPr lang="zh-Hans" altLang="en-US" sz="2400" dirty="0"/>
              <a:t>语言迁移案例</a:t>
            </a:r>
            <a:endParaRPr lang="zh-CN" altLang="en-US" sz="2400" b="1" dirty="0"/>
          </a:p>
        </p:txBody>
      </p:sp>
      <p:sp>
        <p:nvSpPr>
          <p:cNvPr id="8" name="内容占位符 4">
            <a:extLst>
              <a:ext uri="{FF2B5EF4-FFF2-40B4-BE49-F238E27FC236}">
                <a16:creationId xmlns:a16="http://schemas.microsoft.com/office/drawing/2014/main" id="{65A6A922-7F16-0948-A72F-13FCA2FD73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0606" y="864146"/>
            <a:ext cx="5873356" cy="5624953"/>
          </a:xfrm>
          <a:ln>
            <a:solidFill>
              <a:schemeClr val="bg1"/>
            </a:solidFill>
          </a:ln>
        </p:spPr>
        <p:txBody>
          <a:bodyPr/>
          <a:lstStyle/>
          <a:p>
            <a:pPr marL="400050" lvl="1" indent="-342900">
              <a:lnSpc>
                <a:spcPct val="11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en-US" altLang="zh-CN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User</a:t>
            </a:r>
            <a:r>
              <a:rPr lang="zh-CN" altLang="en-US" sz="20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模块迁移</a:t>
            </a:r>
            <a:endParaRPr lang="en-US" altLang="zh-CN" sz="20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特点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用户数据模块，贴吧核心服务之一</a:t>
            </a:r>
            <a:endParaRPr lang="en-US" altLang="zh-CN" sz="16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流量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140K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QPS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，</a:t>
            </a:r>
            <a:r>
              <a:rPr lang="en-US" altLang="zh-CN" sz="1600" dirty="0" err="1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mgetUserData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相关接口占比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60%</a:t>
            </a: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资源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：占用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713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个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PHP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实例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(4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核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16GB)</a:t>
            </a:r>
          </a:p>
          <a:p>
            <a:pPr lvl="1">
              <a:lnSpc>
                <a:spcPts val="22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6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成本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: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开发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37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人天 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+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 测试</a:t>
            </a:r>
            <a:r>
              <a:rPr lang="en-US" altLang="zh-CN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22</a:t>
            </a:r>
            <a:r>
              <a:rPr lang="zh-CN" altLang="en-US" sz="1600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微软雅黑"/>
              </a:rPr>
              <a:t>人天</a:t>
            </a:r>
            <a:endParaRPr lang="en-US" altLang="zh-CN" sz="1200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微软雅黑"/>
            </a:endParaRP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DAA218C-ECEF-0345-A906-C471689B6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3761" y="2592338"/>
            <a:ext cx="2777480" cy="196309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6EEFC59-AB72-EB4A-A73B-D01697950B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4972" y="2846744"/>
            <a:ext cx="3146241" cy="1659756"/>
          </a:xfrm>
          <a:prstGeom prst="rect">
            <a:avLst/>
          </a:prstGeom>
        </p:spPr>
      </p:pic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2DF8B03B-FEE9-DB4C-A9CB-59084FB83B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73674"/>
              </p:ext>
            </p:extLst>
          </p:nvPr>
        </p:nvGraphicFramePr>
        <p:xfrm>
          <a:off x="6654032" y="4584712"/>
          <a:ext cx="5114416" cy="251096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278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8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86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8604">
                  <a:extLst>
                    <a:ext uri="{9D8B030D-6E8A-4147-A177-3AD203B41FA5}">
                      <a16:colId xmlns:a16="http://schemas.microsoft.com/office/drawing/2014/main" val="4215265050"/>
                    </a:ext>
                  </a:extLst>
                </a:gridCol>
              </a:tblGrid>
              <a:tr h="403608"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b="0" dirty="0"/>
                        <a:t>场景拆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PHP</a:t>
                      </a:r>
                      <a:r>
                        <a:rPr lang="zh-CN" altLang="en-US" sz="1600" dirty="0"/>
                        <a:t>耗时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Go</a:t>
                      </a:r>
                      <a:r>
                        <a:rPr lang="zh-CN" altLang="en-US" sz="1600" dirty="0"/>
                        <a:t>耗时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dirty="0"/>
                        <a:t>收益</a:t>
                      </a:r>
                      <a:endParaRPr lang="zh-CN" altLang="en-US" sz="16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608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DB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24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10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>
                          <a:solidFill>
                            <a:srgbClr val="FF0000"/>
                          </a:solidFill>
                        </a:rPr>
                        <a:t>-14ms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608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Cache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10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6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>
                          <a:solidFill>
                            <a:srgbClr val="FF0000"/>
                          </a:solidFill>
                        </a:rPr>
                        <a:t>-4ms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3380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Redi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6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/>
                        <a:t>2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dirty="0">
                          <a:solidFill>
                            <a:srgbClr val="FF0000"/>
                          </a:solidFill>
                        </a:rPr>
                        <a:t>-4ms</a:t>
                      </a:r>
                      <a:endParaRPr lang="zh-CN" altLang="en-US" sz="1600" b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380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Passport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14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13ms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相近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8623968"/>
                  </a:ext>
                </a:extLst>
              </a:tr>
              <a:tr h="433380"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b="0" dirty="0"/>
                        <a:t>业务逻辑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-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600" b="0" dirty="0"/>
                        <a:t>-</a:t>
                      </a:r>
                      <a:endParaRPr lang="zh-CN" altLang="en-US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相近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9294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3673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业界及厂内应用情况</a:t>
            </a:r>
            <a:endParaRPr lang="zh-CN" altLang="en-US" sz="2400" b="1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6955B6D-A48B-C64E-BF91-884F05998996}"/>
              </a:ext>
            </a:extLst>
          </p:cNvPr>
          <p:cNvSpPr txBox="1"/>
          <p:nvPr/>
        </p:nvSpPr>
        <p:spPr>
          <a:xfrm>
            <a:off x="-26814" y="792138"/>
            <a:ext cx="10912603" cy="1685077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业界动态</a:t>
            </a:r>
            <a:endParaRPr lang="en-US" altLang="zh-CN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5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6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今日头条开始使用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重构后端的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Feed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流服务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5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超过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流量是跑在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构建的服务上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9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 ，腾讯宣布正式开源微服务框架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Tars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 </a:t>
            </a: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lang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版本 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Tars-Go</a:t>
            </a:r>
            <a:r>
              <a:rPr lang="zh-CN" altLang="en-US" sz="1400" b="1" dirty="0">
                <a:solidFill>
                  <a:schemeClr val="bg2">
                    <a:lumMod val="50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其并发性能比 </a:t>
            </a: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RPC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高 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5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倍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1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知乎核心服务全面迁移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节省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器资源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9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4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滴滴核心框架与工具链使用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开发实现，有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5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模块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实例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0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开发者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52C9460-52F5-4A45-BE46-AA438DBA45F2}"/>
              </a:ext>
            </a:extLst>
          </p:cNvPr>
          <p:cNvSpPr txBox="1"/>
          <p:nvPr/>
        </p:nvSpPr>
        <p:spPr>
          <a:xfrm>
            <a:off x="431974" y="2376314"/>
            <a:ext cx="3491661" cy="3844514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公司内部使用</a:t>
            </a:r>
            <a:r>
              <a:rPr lang="en-US" altLang="zh-Han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部门</a:t>
            </a:r>
            <a:endParaRPr lang="en-US" altLang="zh-Hans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度秘在线架构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搜索运维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百度</a:t>
            </a:r>
            <a:r>
              <a:rPr lang="en-US" altLang="zh-Han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APP</a:t>
            </a: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技术平台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贴吧研发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个人云研发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国际化产品研发中心（深圳）</a:t>
            </a:r>
            <a:endParaRPr lang="en-US" altLang="zh-CN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区块链业务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内容生态</a:t>
            </a:r>
            <a:r>
              <a:rPr lang="en-US" altLang="zh-Han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B</a:t>
            </a: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端研发部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kumimoji="1"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…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056A6A-8429-3342-8C30-87435811D5DD}"/>
              </a:ext>
            </a:extLst>
          </p:cNvPr>
          <p:cNvSpPr txBox="1"/>
          <p:nvPr/>
        </p:nvSpPr>
        <p:spPr>
          <a:xfrm>
            <a:off x="864022" y="6220828"/>
            <a:ext cx="21595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/>
              <a:t>关注重点：贴吧、小程序</a:t>
            </a:r>
            <a:endParaRPr kumimoji="1" lang="zh-CN" altLang="en-US" sz="1400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CFE0F8C-1C30-134C-B7C3-E8B497DAA3AF}"/>
              </a:ext>
            </a:extLst>
          </p:cNvPr>
          <p:cNvSpPr/>
          <p:nvPr/>
        </p:nvSpPr>
        <p:spPr>
          <a:xfrm>
            <a:off x="4679934" y="4901260"/>
            <a:ext cx="5449556" cy="148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贴吧业务规划</a:t>
            </a:r>
            <a:endParaRPr lang="en-US" altLang="zh-CN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20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底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30%PHP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模块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6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业务流量迁移到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微服务技术体系建立。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贴吧服务端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同学使用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言开发</a:t>
            </a:r>
          </a:p>
        </p:txBody>
      </p:sp>
    </p:spTree>
    <p:extLst>
      <p:ext uri="{BB962C8B-B14F-4D97-AF65-F5344CB8AC3E}">
        <p14:creationId xmlns:p14="http://schemas.microsoft.com/office/powerpoint/2010/main" val="183455307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en-US" altLang="zh-Hans" sz="2400" dirty="0"/>
              <a:t>DevOps</a:t>
            </a:r>
            <a:r>
              <a:rPr lang="zh-Hans" altLang="en-US" sz="2400" dirty="0"/>
              <a:t>问题概述</a:t>
            </a:r>
            <a:endParaRPr lang="zh-CN" altLang="en-US" sz="2400" b="1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9108F3A-C384-E24B-B1B9-C40949092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54" y="727073"/>
            <a:ext cx="10939343" cy="142069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A3E87FF2-9D1E-5F40-9FC0-47332B15D97E}"/>
              </a:ext>
            </a:extLst>
          </p:cNvPr>
          <p:cNvSpPr txBox="1"/>
          <p:nvPr/>
        </p:nvSpPr>
        <p:spPr>
          <a:xfrm>
            <a:off x="431974" y="1971105"/>
            <a:ext cx="22621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Hans" sz="1200" dirty="0"/>
              <a:t>Go</a:t>
            </a:r>
            <a:r>
              <a:rPr kumimoji="1" lang="zh-Hans" altLang="en-US" sz="1200" dirty="0"/>
              <a:t>语言的单元测试相对便捷</a:t>
            </a:r>
            <a:endParaRPr kumimoji="1" lang="en-US" altLang="zh-Han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Hans" sz="1200" dirty="0"/>
              <a:t>CMC</a:t>
            </a:r>
            <a:r>
              <a:rPr kumimoji="1" lang="zh-Hans" altLang="en-US" sz="1200" dirty="0"/>
              <a:t>提供了完整的单测与</a:t>
            </a:r>
            <a:endParaRPr kumimoji="1" lang="en-US" altLang="zh-Hans" sz="1200" dirty="0"/>
          </a:p>
          <a:p>
            <a:r>
              <a:rPr kumimoji="1" lang="zh-Hans" altLang="en-US" sz="1200" dirty="0"/>
              <a:t>   接入</a:t>
            </a:r>
            <a:r>
              <a:rPr kumimoji="1" lang="en-US" altLang="zh-Hans" sz="1200" dirty="0"/>
              <a:t>COV</a:t>
            </a:r>
            <a:r>
              <a:rPr kumimoji="1" lang="zh-Hans" altLang="en-US" sz="1200" dirty="0"/>
              <a:t>指导</a:t>
            </a:r>
            <a:endParaRPr kumimoji="1" lang="zh-CN" altLang="en-US" sz="12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1FB28D9-C407-5A49-8E8A-41827FAC488B}"/>
              </a:ext>
            </a:extLst>
          </p:cNvPr>
          <p:cNvSpPr txBox="1"/>
          <p:nvPr/>
        </p:nvSpPr>
        <p:spPr>
          <a:xfrm>
            <a:off x="2932612" y="1967103"/>
            <a:ext cx="20505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静态代码检查手段完备，</a:t>
            </a:r>
            <a:endParaRPr kumimoji="1" lang="en-US" altLang="zh-Hans" sz="1200" dirty="0"/>
          </a:p>
          <a:p>
            <a:r>
              <a:rPr kumimoji="1" lang="zh-Hans" altLang="en-US" sz="1200" dirty="0"/>
              <a:t>   </a:t>
            </a:r>
            <a:r>
              <a:rPr kumimoji="1" lang="en-US" altLang="zh-Hans" sz="1200" dirty="0" err="1"/>
              <a:t>BugBye</a:t>
            </a:r>
            <a:r>
              <a:rPr kumimoji="1" lang="zh-Hans" altLang="en-US" sz="1200" dirty="0"/>
              <a:t>已集成相关能力</a:t>
            </a:r>
            <a:endParaRPr kumimoji="1" lang="en-US" altLang="zh-Han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静态安全扫描猫头鹰计划</a:t>
            </a:r>
            <a:endParaRPr kumimoji="1" lang="en-US" altLang="zh-Hans" sz="1200" dirty="0"/>
          </a:p>
          <a:p>
            <a:r>
              <a:rPr kumimoji="1" lang="zh-Hans" altLang="en-US" sz="1200" dirty="0"/>
              <a:t>   </a:t>
            </a:r>
            <a:r>
              <a:rPr kumimoji="1" lang="en-US" altLang="zh-Hans" sz="1200" dirty="0"/>
              <a:t>Q4</a:t>
            </a:r>
            <a:r>
              <a:rPr kumimoji="1" lang="zh-Hans" altLang="en-US" sz="1200" dirty="0"/>
              <a:t>支持</a:t>
            </a:r>
            <a:endParaRPr kumimoji="1" lang="zh-CN" altLang="en-US" sz="12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8866E55-DABC-E646-BFF8-56646207E0B0}"/>
              </a:ext>
            </a:extLst>
          </p:cNvPr>
          <p:cNvSpPr txBox="1"/>
          <p:nvPr/>
        </p:nvSpPr>
        <p:spPr>
          <a:xfrm>
            <a:off x="5415741" y="1965102"/>
            <a:ext cx="205857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采用</a:t>
            </a:r>
            <a:r>
              <a:rPr kumimoji="1" lang="en-US" altLang="zh-Hans" sz="1200" dirty="0"/>
              <a:t>Robot+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对非</a:t>
            </a:r>
            <a:r>
              <a:rPr kumimoji="1" lang="en-US" altLang="zh-Hans" sz="1200" dirty="0"/>
              <a:t>http</a:t>
            </a:r>
            <a:r>
              <a:rPr kumimoji="1" lang="zh-Hans" altLang="en-US" sz="1200" dirty="0"/>
              <a:t>接口，即所采用</a:t>
            </a:r>
            <a:endParaRPr kumimoji="1" lang="en-US" altLang="zh-Hans" sz="1200" dirty="0"/>
          </a:p>
          <a:p>
            <a:r>
              <a:rPr kumimoji="1" lang="zh-Hans" altLang="en-US" sz="1200" dirty="0"/>
              <a:t>   其他协议</a:t>
            </a:r>
            <a:r>
              <a:rPr kumimoji="1" lang="en-US" altLang="zh-Hans" sz="1200" dirty="0"/>
              <a:t>ITP</a:t>
            </a:r>
            <a:r>
              <a:rPr kumimoji="1" lang="zh-Hans" altLang="en-US" sz="1200" dirty="0"/>
              <a:t>已能够支持</a:t>
            </a:r>
            <a:endParaRPr kumimoji="1" lang="en-US" altLang="zh-Hans" sz="1200" dirty="0"/>
          </a:p>
          <a:p>
            <a:r>
              <a:rPr kumimoji="1" lang="zh-Hans" altLang="en-US" sz="1200" dirty="0"/>
              <a:t>   （</a:t>
            </a:r>
            <a:r>
              <a:rPr kumimoji="1" lang="en-US" altLang="zh-Hans" sz="1200" dirty="0" err="1"/>
              <a:t>mcpack</a:t>
            </a:r>
            <a:r>
              <a:rPr kumimoji="1" lang="zh-Hans" altLang="en-US" sz="1200" dirty="0"/>
              <a:t>、</a:t>
            </a:r>
            <a:r>
              <a:rPr kumimoji="1" lang="en-US" altLang="zh-Hans" sz="1200" dirty="0" err="1"/>
              <a:t>pb</a:t>
            </a:r>
            <a:r>
              <a:rPr kumimoji="1" lang="zh-Hans" altLang="en-US" sz="1200" dirty="0"/>
              <a:t>等），</a:t>
            </a:r>
            <a:endParaRPr kumimoji="1" lang="en-US" altLang="zh-Hans" sz="1200" dirty="0"/>
          </a:p>
          <a:p>
            <a:r>
              <a:rPr kumimoji="1" lang="zh-Hans" altLang="en-US" sz="1200" dirty="0"/>
              <a:t>    并不是问题</a:t>
            </a:r>
            <a:endParaRPr kumimoji="1" lang="en-US" altLang="zh-Hans" sz="12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DB4CD47-0E3B-8240-B94D-0506DBFBBCA6}"/>
              </a:ext>
            </a:extLst>
          </p:cNvPr>
          <p:cNvSpPr txBox="1"/>
          <p:nvPr/>
        </p:nvSpPr>
        <p:spPr>
          <a:xfrm>
            <a:off x="7704782" y="1986076"/>
            <a:ext cx="22717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Hans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工具链支持</a:t>
            </a:r>
            <a:r>
              <a:rPr lang="en-US" altLang="zh-Hans" sz="12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</a:t>
            </a:r>
            <a:r>
              <a:rPr lang="zh-Hans" altLang="en-US" sz="12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 </a:t>
            </a:r>
            <a:r>
              <a:rPr lang="en-US" altLang="zh-Hans" sz="1200" b="1" dirty="0" err="1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prof</a:t>
            </a:r>
            <a:endParaRPr lang="en-US" altLang="zh-Hans" sz="120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r>
              <a:rPr lang="zh-Hans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进行性能调优，无需外部依赖</a:t>
            </a:r>
            <a:endParaRPr kumimoji="1" lang="en-US" altLang="zh-Han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压力云可以支持</a:t>
            </a:r>
            <a:endParaRPr kumimoji="1" lang="en-US" altLang="zh-Han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需要解决长连接</a:t>
            </a:r>
            <a:endParaRPr kumimoji="1" lang="en-US" altLang="zh-Hans" sz="1200" dirty="0"/>
          </a:p>
          <a:p>
            <a:r>
              <a:rPr kumimoji="1" lang="zh-Hans" altLang="en-US" sz="1200" dirty="0"/>
              <a:t>   接口性能评估问题</a:t>
            </a:r>
            <a:endParaRPr kumimoji="1" lang="en-US" altLang="zh-Hans" sz="12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A8622A2-2D08-F945-A233-5C185DA99E02}"/>
              </a:ext>
            </a:extLst>
          </p:cNvPr>
          <p:cNvSpPr txBox="1"/>
          <p:nvPr/>
        </p:nvSpPr>
        <p:spPr>
          <a:xfrm>
            <a:off x="5408695" y="3096394"/>
            <a:ext cx="26564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Hans" altLang="en-US" sz="1200" dirty="0"/>
              <a:t>环境方面，</a:t>
            </a:r>
            <a:r>
              <a:rPr kumimoji="1" lang="en-US" altLang="zh-Hans" sz="1200" dirty="0"/>
              <a:t>XSTP</a:t>
            </a:r>
            <a:r>
              <a:rPr kumimoji="1" lang="zh-Hans" altLang="en-US" sz="1200" dirty="0"/>
              <a:t>已支持</a:t>
            </a:r>
            <a:endParaRPr kumimoji="1" lang="en-US" altLang="zh-Hans" sz="1200" dirty="0"/>
          </a:p>
          <a:p>
            <a:r>
              <a:rPr kumimoji="1" lang="zh-Hans" altLang="en-US" sz="1200" dirty="0"/>
              <a:t>   小程序的环境部署及覆盖率生成，</a:t>
            </a:r>
            <a:endParaRPr kumimoji="1" lang="en-US" altLang="zh-Hans" sz="1200" dirty="0"/>
          </a:p>
          <a:p>
            <a:r>
              <a:rPr kumimoji="1" lang="zh-Hans" altLang="en-US" sz="1200" dirty="0"/>
              <a:t>   以及与</a:t>
            </a:r>
            <a:r>
              <a:rPr kumimoji="1" lang="en-US" altLang="zh-Hans" sz="1200" dirty="0"/>
              <a:t>agile</a:t>
            </a:r>
            <a:r>
              <a:rPr kumimoji="1" lang="zh-Hans" altLang="en-US" sz="1200" dirty="0"/>
              <a:t>的打通，</a:t>
            </a:r>
            <a:endParaRPr kumimoji="1" lang="en-US" altLang="zh-Hans" sz="1200" dirty="0"/>
          </a:p>
          <a:p>
            <a:r>
              <a:rPr kumimoji="1" lang="zh-Hans" altLang="en-US" sz="1200" dirty="0"/>
              <a:t>   </a:t>
            </a:r>
            <a:endParaRPr kumimoji="1" lang="en-US" altLang="zh-Hans" sz="12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71A51C7-67A6-F144-A714-F3C65C05F474}"/>
              </a:ext>
            </a:extLst>
          </p:cNvPr>
          <p:cNvSpPr txBox="1"/>
          <p:nvPr/>
        </p:nvSpPr>
        <p:spPr>
          <a:xfrm>
            <a:off x="9845131" y="1970243"/>
            <a:ext cx="2519953" cy="923330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kumimoji="1" lang="zh-Hans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线下测试无稳定环境</a:t>
            </a:r>
            <a:endParaRPr kumimoji="1" lang="en-US" altLang="zh-Hans" sz="12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Hans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缺少分级发布手段</a:t>
            </a:r>
            <a:endParaRPr kumimoji="1" lang="en-US" altLang="zh-Hans" sz="12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kumimoji="1" lang="zh-Hans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通过日志定位线上问题难度增加</a:t>
            </a:r>
            <a:endParaRPr kumimoji="1"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6355929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工程能力</a:t>
            </a:r>
            <a:endParaRPr lang="zh-CN" altLang="en-US" sz="2400" b="1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0DAC50E-A70B-AE4D-B6E4-D77CF26FCC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982" y="1604980"/>
            <a:ext cx="10945216" cy="4731774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C20DD1B4-F401-6440-8751-6AE01F596590}"/>
              </a:ext>
            </a:extLst>
          </p:cNvPr>
          <p:cNvSpPr/>
          <p:nvPr/>
        </p:nvSpPr>
        <p:spPr>
          <a:xfrm>
            <a:off x="2880246" y="1734673"/>
            <a:ext cx="8568952" cy="4587758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17BC966-D921-FB43-AAB7-AF1E1B15F56E}"/>
              </a:ext>
            </a:extLst>
          </p:cNvPr>
          <p:cNvSpPr txBox="1"/>
          <p:nvPr/>
        </p:nvSpPr>
        <p:spPr>
          <a:xfrm>
            <a:off x="431974" y="790008"/>
            <a:ext cx="8432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800" dirty="0"/>
              <a:t>需求层面不受影响，重点阐述</a:t>
            </a:r>
            <a:r>
              <a:rPr kumimoji="1" lang="en-US" altLang="zh-Hans" sz="1800" dirty="0"/>
              <a:t>【</a:t>
            </a:r>
            <a:r>
              <a:rPr kumimoji="1" lang="zh-Hans" altLang="en-US" sz="1800" dirty="0"/>
              <a:t>开发</a:t>
            </a:r>
            <a:r>
              <a:rPr kumimoji="1" lang="en-US" altLang="zh-Hans" sz="1800" dirty="0"/>
              <a:t>】【</a:t>
            </a:r>
            <a:r>
              <a:rPr kumimoji="1" lang="zh-Hans" altLang="en-US" sz="1800" dirty="0"/>
              <a:t>代码准入</a:t>
            </a:r>
            <a:r>
              <a:rPr kumimoji="1" lang="en-US" altLang="zh-Hans" sz="1800" dirty="0"/>
              <a:t>】【</a:t>
            </a:r>
            <a:r>
              <a:rPr kumimoji="1" lang="zh-Hans" altLang="en-US" sz="1800" dirty="0"/>
              <a:t>测试</a:t>
            </a:r>
            <a:r>
              <a:rPr kumimoji="1" lang="en-US" altLang="zh-Hans" sz="1800" dirty="0"/>
              <a:t>】【</a:t>
            </a:r>
            <a:r>
              <a:rPr kumimoji="1" lang="zh-Hans" altLang="en-US" sz="1800" dirty="0"/>
              <a:t>上线</a:t>
            </a:r>
            <a:r>
              <a:rPr kumimoji="1" lang="en-US" altLang="zh-Hans" sz="1800" dirty="0"/>
              <a:t>&amp;</a:t>
            </a:r>
            <a:r>
              <a:rPr kumimoji="1" lang="zh-Hans" altLang="en-US" sz="1800" dirty="0"/>
              <a:t>验证</a:t>
            </a:r>
            <a:r>
              <a:rPr kumimoji="1" lang="en-US" altLang="zh-Hans" sz="1800" dirty="0"/>
              <a:t>】</a:t>
            </a:r>
            <a:r>
              <a:rPr kumimoji="1" lang="zh-Hans" altLang="en-US" sz="1800" dirty="0"/>
              <a:t>阶段</a:t>
            </a:r>
            <a:endParaRPr kumimoji="1"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85924833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开发</a:t>
            </a:r>
            <a:endParaRPr lang="zh-CN" altLang="en-US" sz="2400" b="1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7A759B7-0758-0640-B194-101CE5C8F1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772" y="730920"/>
            <a:ext cx="2133600" cy="2159000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7B7FFB2F-7A76-5649-83E6-027A682AD1C5}"/>
              </a:ext>
            </a:extLst>
          </p:cNvPr>
          <p:cNvSpPr txBox="1"/>
          <p:nvPr/>
        </p:nvSpPr>
        <p:spPr>
          <a:xfrm>
            <a:off x="746470" y="8226286"/>
            <a:ext cx="74238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开发者通过</a:t>
            </a:r>
            <a:r>
              <a:rPr lang="en" altLang="zh-CN" sz="1400" dirty="0"/>
              <a:t>API</a:t>
            </a:r>
            <a:r>
              <a:rPr lang="zh-CN" altLang="en" sz="1400" dirty="0"/>
              <a:t>、</a:t>
            </a:r>
            <a:r>
              <a:rPr lang="zh-CN" altLang="en-US" sz="1400" dirty="0"/>
              <a:t>脚本等发起功能、单测等相关验证能力，对代码在正式入库前进行验证</a:t>
            </a:r>
            <a:endParaRPr lang="en-US" altLang="zh-CN" sz="1400" dirty="0"/>
          </a:p>
          <a:p>
            <a:r>
              <a:rPr kumimoji="1" lang="zh-CN" altLang="en-US" sz="1400" dirty="0"/>
              <a:t>    </a:t>
            </a:r>
            <a:r>
              <a:rPr kumimoji="1" lang="zh-Hans" altLang="en-US" sz="1400" dirty="0"/>
              <a:t>与其他自动化手段相同，暂不在此处介绍</a:t>
            </a:r>
            <a:endParaRPr kumimoji="1" lang="zh-CN" altLang="en-US" sz="1050" dirty="0"/>
          </a:p>
        </p:txBody>
      </p:sp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28ABCA0C-FA66-5D45-AC2B-7793C120F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455827"/>
              </p:ext>
            </p:extLst>
          </p:nvPr>
        </p:nvGraphicFramePr>
        <p:xfrm>
          <a:off x="2448198" y="648122"/>
          <a:ext cx="9433049" cy="4748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val="2368420909"/>
                    </a:ext>
                  </a:extLst>
                </a:gridCol>
                <a:gridCol w="5040560">
                  <a:extLst>
                    <a:ext uri="{9D8B030D-6E8A-4147-A177-3AD203B41FA5}">
                      <a16:colId xmlns:a16="http://schemas.microsoft.com/office/drawing/2014/main" val="3953825932"/>
                    </a:ext>
                  </a:extLst>
                </a:gridCol>
                <a:gridCol w="3096345">
                  <a:extLst>
                    <a:ext uri="{9D8B030D-6E8A-4147-A177-3AD203B41FA5}">
                      <a16:colId xmlns:a16="http://schemas.microsoft.com/office/drawing/2014/main" val="1891279882"/>
                    </a:ext>
                  </a:extLst>
                </a:gridCol>
              </a:tblGrid>
              <a:tr h="650407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建议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当前情况（贴吧、小程序）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534908"/>
                  </a:ext>
                </a:extLst>
              </a:tr>
              <a:tr h="1440034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本地代码检查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zh-Hans" sz="1400" dirty="0"/>
                        <a:t>Icoding</a:t>
                      </a:r>
                      <a:r>
                        <a:rPr kumimoji="1" lang="zh-Hans" altLang="en-US" sz="1400" dirty="0"/>
                        <a:t>：基于</a:t>
                      </a:r>
                      <a:r>
                        <a:rPr kumimoji="1" lang="en-US" altLang="zh-Hans" sz="1400" dirty="0"/>
                        <a:t>BugBye</a:t>
                      </a:r>
                      <a:r>
                        <a:rPr kumimoji="1" lang="zh-Hans" altLang="en-US" sz="1400" dirty="0"/>
                        <a:t>开发，可以下载工具包本地使用</a:t>
                      </a:r>
                      <a:endParaRPr kumimoji="1" lang="zh-CN" alt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400" dirty="0">
                          <a:hlinkClick r:id="rId4"/>
                        </a:rPr>
                        <a:t>http://wiki.baidu.com/pages/viewpage.action?pageId=729033733</a:t>
                      </a:r>
                      <a:endParaRPr kumimoji="1" lang="zh-CN" altLang="en-US" sz="14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zh-Hans" sz="1400" dirty="0"/>
                        <a:t>BugBye</a:t>
                      </a:r>
                      <a:r>
                        <a:rPr kumimoji="1" lang="zh-Hans" altLang="en-US" sz="1400" dirty="0"/>
                        <a:t>：满足基本的风格及风险检查需求，</a:t>
                      </a:r>
                      <a:r>
                        <a:rPr kumimoji="1"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-US" altLang="zh-Han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ovet</a:t>
                      </a:r>
                      <a:r>
                        <a:rPr kumimoji="1"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-US" altLang="zh-Han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amp;</a:t>
                      </a:r>
                      <a:r>
                        <a:rPr kumimoji="1"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" altLang="zh-CN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olint</a:t>
                      </a:r>
                      <a:r>
                        <a:rPr kumimoji="1"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。</a:t>
                      </a:r>
                      <a:r>
                        <a:rPr kumimoji="1" lang="zh-Hans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目前</a:t>
                      </a:r>
                      <a:r>
                        <a:rPr kumimoji="1"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支持缺陷检查，编码规范还没</a:t>
                      </a:r>
                      <a:r>
                        <a:rPr kumimoji="1" lang="zh-Hans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支持</a:t>
                      </a:r>
                      <a:r>
                        <a:rPr kumimoji="1" lang="zh-Hans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。</a:t>
                      </a:r>
                      <a:endParaRPr kumimoji="1" lang="zh-CN" alt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zh-CN" sz="140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zh-CN" sz="140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zh-CN" sz="140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zh-CN" sz="140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>
                          <a:solidFill>
                            <a:schemeClr val="tx1"/>
                          </a:solidFill>
                        </a:rPr>
                        <a:t>使用与</a:t>
                      </a:r>
                      <a:r>
                        <a:rPr kumimoji="1" lang="en-US" altLang="zh-Hans" sz="1400" dirty="0">
                          <a:solidFill>
                            <a:schemeClr val="tx1"/>
                          </a:solidFill>
                        </a:rPr>
                        <a:t>IDE</a:t>
                      </a:r>
                      <a:r>
                        <a:rPr kumimoji="1" lang="zh-Hans" altLang="en-US" sz="1400" dirty="0">
                          <a:solidFill>
                            <a:schemeClr val="tx1"/>
                          </a:solidFill>
                        </a:rPr>
                        <a:t>结合的代码检测能力，</a:t>
                      </a:r>
                      <a:r>
                        <a:rPr lang="en" altLang="zh-CN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lint</a:t>
                      </a:r>
                      <a:r>
                        <a:rPr kumimoji="0" lang="zh-Hans" alt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，</a:t>
                      </a:r>
                      <a:r>
                        <a:rPr kumimoji="1" lang="zh-Hans" altLang="en-US" sz="1400" dirty="0">
                          <a:solidFill>
                            <a:schemeClr val="tx1"/>
                          </a:solidFill>
                        </a:rPr>
                        <a:t>与</a:t>
                      </a:r>
                      <a:r>
                        <a:rPr kumimoji="1" lang="en-US" altLang="zh-Hans" sz="1400" dirty="0">
                          <a:solidFill>
                            <a:schemeClr val="tx1"/>
                          </a:solidFill>
                        </a:rPr>
                        <a:t>BugBye</a:t>
                      </a:r>
                      <a:r>
                        <a:rPr kumimoji="1" lang="zh-Hans" altLang="en-US" sz="1400" dirty="0">
                          <a:solidFill>
                            <a:schemeClr val="tx1"/>
                          </a:solidFill>
                        </a:rPr>
                        <a:t>依赖的底层能力一样。</a:t>
                      </a: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没有点亮工程能力，不能跟进</a:t>
                      </a:r>
                      <a:endParaRPr kumimoji="1"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488427"/>
                  </a:ext>
                </a:extLst>
              </a:tr>
              <a:tr h="1872706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本地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/>
                        <a:t>开发者通过</a:t>
                      </a:r>
                      <a:r>
                        <a:rPr lang="en" altLang="zh-CN" sz="1400" dirty="0"/>
                        <a:t>API</a:t>
                      </a:r>
                      <a:r>
                        <a:rPr lang="zh-CN" altLang="en" sz="1400" dirty="0"/>
                        <a:t>、</a:t>
                      </a:r>
                      <a:r>
                        <a:rPr lang="zh-CN" altLang="en-US" sz="1400" dirty="0"/>
                        <a:t>脚本等发起功能、单测等相关验证能力，对代码在正式入库前进行验证</a:t>
                      </a:r>
                      <a:r>
                        <a:rPr kumimoji="0" lang="zh-Hans" altLang="en-US" sz="1400" dirty="0"/>
                        <a:t>。</a:t>
                      </a:r>
                      <a:r>
                        <a:rPr kumimoji="1" lang="zh-Hans" altLang="en-US" sz="1400" dirty="0"/>
                        <a:t>与其他自动化手段相同，暂不在此处介绍</a:t>
                      </a:r>
                      <a:endParaRPr kumimoji="1" lang="zh-CN" altLang="en-US" sz="1050" dirty="0"/>
                    </a:p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无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734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672940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代码准入</a:t>
            </a:r>
            <a:endParaRPr lang="zh-CN" altLang="en-US" sz="2400" b="1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7B7FFB2F-7A76-5649-83E6-027A682AD1C5}"/>
              </a:ext>
            </a:extLst>
          </p:cNvPr>
          <p:cNvSpPr txBox="1"/>
          <p:nvPr/>
        </p:nvSpPr>
        <p:spPr>
          <a:xfrm>
            <a:off x="746470" y="8226286"/>
            <a:ext cx="74238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开发者通过</a:t>
            </a:r>
            <a:r>
              <a:rPr lang="en" altLang="zh-CN" sz="1400" dirty="0"/>
              <a:t>API</a:t>
            </a:r>
            <a:r>
              <a:rPr lang="zh-CN" altLang="en" sz="1400" dirty="0"/>
              <a:t>、</a:t>
            </a:r>
            <a:r>
              <a:rPr lang="zh-CN" altLang="en-US" sz="1400" dirty="0"/>
              <a:t>脚本等发起功能、单测等相关验证能力，对代码在正式入库前进行验证</a:t>
            </a:r>
            <a:endParaRPr lang="en-US" altLang="zh-CN" sz="1400" dirty="0"/>
          </a:p>
          <a:p>
            <a:r>
              <a:rPr kumimoji="1" lang="zh-CN" altLang="en-US" sz="1400" dirty="0"/>
              <a:t>    </a:t>
            </a:r>
            <a:r>
              <a:rPr kumimoji="1" lang="zh-Hans" altLang="en-US" sz="1400" dirty="0"/>
              <a:t>与其他自动化手段相同，暂不在此处介绍</a:t>
            </a:r>
            <a:endParaRPr kumimoji="1" lang="zh-CN" altLang="en-US" sz="1050" dirty="0"/>
          </a:p>
        </p:txBody>
      </p:sp>
      <p:graphicFrame>
        <p:nvGraphicFramePr>
          <p:cNvPr id="20" name="表格 19">
            <a:extLst>
              <a:ext uri="{FF2B5EF4-FFF2-40B4-BE49-F238E27FC236}">
                <a16:creationId xmlns:a16="http://schemas.microsoft.com/office/drawing/2014/main" id="{656B0853-54ED-AB4B-BC6F-9F17F36A23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698110"/>
              </p:ext>
            </p:extLst>
          </p:nvPr>
        </p:nvGraphicFramePr>
        <p:xfrm>
          <a:off x="2448198" y="1051550"/>
          <a:ext cx="9283312" cy="4125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368420909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3953825932"/>
                    </a:ext>
                  </a:extLst>
                </a:gridCol>
                <a:gridCol w="4098736">
                  <a:extLst>
                    <a:ext uri="{9D8B030D-6E8A-4147-A177-3AD203B41FA5}">
                      <a16:colId xmlns:a16="http://schemas.microsoft.com/office/drawing/2014/main" val="1872104784"/>
                    </a:ext>
                  </a:extLst>
                </a:gridCol>
              </a:tblGrid>
              <a:tr h="402267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建议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当前情况（贴吧、小程序）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534908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增量源码安全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Hans" sz="1400" dirty="0">
                          <a:solidFill>
                            <a:srgbClr val="FF0000"/>
                          </a:solidFill>
                        </a:rPr>
                        <a:t>Go</a:t>
                      </a: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语言</a:t>
                      </a:r>
                      <a:r>
                        <a:rPr kumimoji="1" lang="en-US" altLang="zh-Hans" sz="1400" dirty="0">
                          <a:solidFill>
                            <a:srgbClr val="FF0000"/>
                          </a:solidFill>
                        </a:rPr>
                        <a:t>icode</a:t>
                      </a: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暂时不支持</a:t>
                      </a:r>
                      <a:endParaRPr kumimoji="1"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配了猫头鹰，可以点亮工程能力地图，但并不会发挥作用</a:t>
                      </a:r>
                      <a:endParaRPr kumimoji="1" lang="zh-CN" alt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488427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百度编码规范</a:t>
                      </a:r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altLang="zh-Hans" sz="1400" dirty="0"/>
                        <a:t>Icode</a:t>
                      </a:r>
                      <a:r>
                        <a:rPr lang="zh-Hans" altLang="en-US" sz="1400" dirty="0"/>
                        <a:t>已支持</a:t>
                      </a:r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400" dirty="0"/>
                        <a:t>已采用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135264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Code</a:t>
                      </a:r>
                      <a:r>
                        <a:rPr lang="zh-Hans" altLang="en-US" sz="1400" dirty="0"/>
                        <a:t> </a:t>
                      </a:r>
                      <a:r>
                        <a:rPr lang="en-US" altLang="zh-Hans" sz="1400" dirty="0"/>
                        <a:t>Review</a:t>
                      </a:r>
                      <a:endParaRPr lang="zh-CN" altLang="en-US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5653390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增量静态代码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Icode&amp;Bugbye</a:t>
                      </a:r>
                      <a:r>
                        <a:rPr lang="zh-Hans" altLang="en-US" sz="1400" dirty="0"/>
                        <a:t>已支持，同全量代码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已在</a:t>
                      </a:r>
                      <a:r>
                        <a:rPr lang="en-US" altLang="zh-Hans" sz="1400" dirty="0"/>
                        <a:t>Agile</a:t>
                      </a:r>
                      <a:r>
                        <a:rPr lang="zh-Hans" altLang="en-US" sz="1400" dirty="0"/>
                        <a:t>配置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73460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云端编译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Hans" sz="1400" dirty="0"/>
                        <a:t>Bcloud</a:t>
                      </a:r>
                      <a:r>
                        <a:rPr kumimoji="1" lang="zh-Hans" altLang="en-US" sz="1400" dirty="0"/>
                        <a:t>已支持，</a:t>
                      </a:r>
                      <a:r>
                        <a:rPr kumimoji="1" lang="en-US" altLang="zh-Hans" sz="1400" dirty="0"/>
                        <a:t>1.13</a:t>
                      </a:r>
                      <a:r>
                        <a:rPr kumimoji="1" lang="zh-Hans" altLang="en-US" sz="1400" dirty="0"/>
                        <a:t>前后版本均已支持，可直接在</a:t>
                      </a:r>
                      <a:r>
                        <a:rPr kumimoji="1" lang="en-US" altLang="zh-Hans" sz="1400" dirty="0"/>
                        <a:t>Agile</a:t>
                      </a:r>
                      <a:r>
                        <a:rPr kumimoji="1" lang="zh-Hans" altLang="en-US" sz="1400" dirty="0"/>
                        <a:t>选择</a:t>
                      </a:r>
                      <a:r>
                        <a:rPr kumimoji="1" lang="en-US" altLang="zh-Hans" sz="1400" dirty="0"/>
                        <a:t>Bcloud</a:t>
                      </a:r>
                      <a:r>
                        <a:rPr kumimoji="1" lang="zh-Hans" altLang="en-US" sz="1400" dirty="0"/>
                        <a:t>编译</a:t>
                      </a:r>
                      <a:endParaRPr kumimoji="1"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已采用</a:t>
                      </a:r>
                      <a:endParaRPr kumimoji="1"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979065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P0</a:t>
                      </a:r>
                      <a:r>
                        <a:rPr lang="zh-Hans" altLang="en-US" sz="1400" dirty="0"/>
                        <a:t>级自动化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ITP</a:t>
                      </a:r>
                      <a:r>
                        <a:rPr lang="zh-Hans" altLang="en-US" sz="1400" dirty="0"/>
                        <a:t>、单测等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rgbClr val="FFC000"/>
                          </a:solidFill>
                        </a:rPr>
                        <a:t>未配置</a:t>
                      </a:r>
                      <a:endParaRPr lang="zh-CN" altLang="en-US" sz="1400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8758214"/>
                  </a:ext>
                </a:extLst>
              </a:tr>
              <a:tr h="407854"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Unit</a:t>
                      </a:r>
                      <a:r>
                        <a:rPr lang="zh-Hans" altLang="en-US" sz="1400" dirty="0"/>
                        <a:t> </a:t>
                      </a:r>
                      <a:r>
                        <a:rPr lang="en-US" altLang="zh-Hans" sz="1400" dirty="0"/>
                        <a:t>Tes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参照</a:t>
                      </a:r>
                      <a:r>
                        <a:rPr lang="en-US" altLang="zh-Hans" sz="1400" dirty="0" err="1">
                          <a:solidFill>
                            <a:schemeClr val="tx1"/>
                          </a:solidFill>
                        </a:rPr>
                        <a:t>GoCMC</a:t>
                      </a:r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标准，编译时执行测试，通过</a:t>
                      </a:r>
                      <a:r>
                        <a:rPr lang="en-US" altLang="zh-Hans" sz="1400" dirty="0">
                          <a:solidFill>
                            <a:schemeClr val="tx1"/>
                          </a:solidFill>
                        </a:rPr>
                        <a:t>COV</a:t>
                      </a:r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发送结果邮件</a:t>
                      </a:r>
                      <a:endParaRPr lang="en-US" altLang="zh-Hans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" altLang="zh-CN" sz="1400" dirty="0">
                          <a:hlinkClick r:id="rId3"/>
                        </a:rPr>
                        <a:t>http://wiki.baidu.com/pages/viewpage.action?pageId=764172208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>
                          <a:solidFill>
                            <a:schemeClr val="tx1"/>
                          </a:solidFill>
                        </a:rPr>
                        <a:t>已采用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9994466"/>
                  </a:ext>
                </a:extLst>
              </a:tr>
            </a:tbl>
          </a:graphicData>
        </a:graphic>
      </p:graphicFrame>
      <p:pic>
        <p:nvPicPr>
          <p:cNvPr id="21" name="图片 20">
            <a:extLst>
              <a:ext uri="{FF2B5EF4-FFF2-40B4-BE49-F238E27FC236}">
                <a16:creationId xmlns:a16="http://schemas.microsoft.com/office/drawing/2014/main" id="{210FA134-3C09-5043-A050-23C7EF9213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898" y="995675"/>
            <a:ext cx="2273300" cy="283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18091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5485"/>
            <a:ext cx="10507374" cy="555084"/>
          </a:xfrm>
        </p:spPr>
        <p:txBody>
          <a:bodyPr/>
          <a:lstStyle/>
          <a:p>
            <a:r>
              <a:rPr lang="zh-Hans" altLang="en-US" sz="2400" b="1" dirty="0"/>
              <a:t>测试（</a:t>
            </a:r>
            <a:r>
              <a:rPr lang="en-US" altLang="zh-Hans" sz="2400" b="1" dirty="0"/>
              <a:t>1</a:t>
            </a:r>
            <a:r>
              <a:rPr lang="zh-Hans" altLang="en-US" sz="2400" b="1" dirty="0"/>
              <a:t>）</a:t>
            </a:r>
            <a:endParaRPr lang="zh-CN" altLang="en-US" sz="2400" b="1" dirty="0"/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67F71361-18E7-2144-9605-BE8545CAF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0152011"/>
              </p:ext>
            </p:extLst>
          </p:nvPr>
        </p:nvGraphicFramePr>
        <p:xfrm>
          <a:off x="2592214" y="1183631"/>
          <a:ext cx="9170252" cy="4379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5132">
                  <a:extLst>
                    <a:ext uri="{9D8B030D-6E8A-4147-A177-3AD203B41FA5}">
                      <a16:colId xmlns:a16="http://schemas.microsoft.com/office/drawing/2014/main" val="2368420909"/>
                    </a:ext>
                  </a:extLst>
                </a:gridCol>
                <a:gridCol w="3528569">
                  <a:extLst>
                    <a:ext uri="{9D8B030D-6E8A-4147-A177-3AD203B41FA5}">
                      <a16:colId xmlns:a16="http://schemas.microsoft.com/office/drawing/2014/main" val="3953825932"/>
                    </a:ext>
                  </a:extLst>
                </a:gridCol>
                <a:gridCol w="4026551">
                  <a:extLst>
                    <a:ext uri="{9D8B030D-6E8A-4147-A177-3AD203B41FA5}">
                      <a16:colId xmlns:a16="http://schemas.microsoft.com/office/drawing/2014/main" val="635139332"/>
                    </a:ext>
                  </a:extLst>
                </a:gridCol>
              </a:tblGrid>
              <a:tr h="386302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建议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现状（贴吧、小程序）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534908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全量源码安全扫描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猫头鹰（目前只支持</a:t>
                      </a:r>
                      <a:r>
                        <a:rPr kumimoji="1" lang="en-US" altLang="zh-Hans" sz="1400" dirty="0">
                          <a:solidFill>
                            <a:srgbClr val="FF0000"/>
                          </a:solidFill>
                        </a:rPr>
                        <a:t>Java</a:t>
                      </a: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和</a:t>
                      </a:r>
                      <a:r>
                        <a:rPr kumimoji="1" lang="en-US" altLang="zh-Hans" sz="1400" dirty="0" err="1">
                          <a:solidFill>
                            <a:srgbClr val="FF0000"/>
                          </a:solidFill>
                        </a:rPr>
                        <a:t>php</a:t>
                      </a:r>
                      <a:r>
                        <a:rPr kumimoji="1" lang="zh-Hans" altLang="en-US" sz="1400" dirty="0">
                          <a:solidFill>
                            <a:srgbClr val="FF0000"/>
                          </a:solidFill>
                        </a:rPr>
                        <a:t>）</a:t>
                      </a:r>
                      <a:endParaRPr kumimoji="1" lang="en-US" altLang="zh-Hans" sz="140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Go </a:t>
                      </a:r>
                      <a:r>
                        <a:rPr kumimoji="1"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语言计划</a:t>
                      </a:r>
                      <a:r>
                        <a:rPr kumimoji="1" lang="en-US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  <a:r>
                        <a:rPr kumimoji="1"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kumimoji="1" lang="en" altLang="zh-CN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Q4</a:t>
                      </a:r>
                      <a:r>
                        <a:rPr kumimoji="1" lang="zh-CN" altLang="en-US" sz="140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支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488427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自动化回归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Hans" sz="1400" dirty="0"/>
                        <a:t>ITP</a:t>
                      </a:r>
                      <a:r>
                        <a:rPr lang="zh-Hans" altLang="en-US" sz="1400" dirty="0"/>
                        <a:t>平台，已支持</a:t>
                      </a:r>
                      <a:r>
                        <a:rPr lang="en-US" altLang="zh-Hans" sz="1400" dirty="0"/>
                        <a:t>mcpack</a:t>
                      </a:r>
                      <a:r>
                        <a:rPr lang="zh-Hans" altLang="en-US" sz="1400" dirty="0"/>
                        <a:t>、</a:t>
                      </a:r>
                      <a:r>
                        <a:rPr lang="en-US" altLang="zh-Hans" sz="1400" dirty="0"/>
                        <a:t>pb</a:t>
                      </a:r>
                      <a:r>
                        <a:rPr lang="zh-Hans" altLang="en-US" sz="1400" dirty="0"/>
                        <a:t>、</a:t>
                      </a:r>
                      <a:r>
                        <a:rPr lang="en-US" altLang="zh-Hans" sz="1400" dirty="0"/>
                        <a:t>http</a:t>
                      </a:r>
                      <a:r>
                        <a:rPr lang="zh-Hans" altLang="en-US" sz="1400" dirty="0"/>
                        <a:t>等相关协议，并含</a:t>
                      </a:r>
                      <a:r>
                        <a:rPr lang="en-US" altLang="zh-Hans" sz="1400" dirty="0"/>
                        <a:t>Agile</a:t>
                      </a:r>
                      <a:r>
                        <a:rPr lang="zh-Hans" altLang="en-US" sz="1400" dirty="0"/>
                        <a:t>插件。若由</a:t>
                      </a:r>
                      <a:r>
                        <a:rPr lang="en-US" altLang="zh-Hans" sz="1400" dirty="0" err="1"/>
                        <a:t>xstp</a:t>
                      </a:r>
                      <a:r>
                        <a:rPr lang="zh-Hans" altLang="en-US" sz="1400" dirty="0"/>
                        <a:t>部署环境，可使用</a:t>
                      </a:r>
                      <a:r>
                        <a:rPr lang="en-US" altLang="zh-Hans" sz="1400" dirty="0" err="1"/>
                        <a:t>xstp-itp</a:t>
                      </a:r>
                      <a:r>
                        <a:rPr lang="zh-Hans" altLang="en-US" sz="1400" dirty="0"/>
                        <a:t>插件调用，直接提供覆盖率；若非</a:t>
                      </a:r>
                      <a:r>
                        <a:rPr lang="en-US" altLang="zh-Hans" sz="1400" dirty="0" err="1"/>
                        <a:t>xstp</a:t>
                      </a:r>
                      <a:r>
                        <a:rPr lang="zh-Hans" altLang="en-US" sz="1400" dirty="0"/>
                        <a:t>环境，可通过</a:t>
                      </a:r>
                      <a:r>
                        <a:rPr lang="en-US" altLang="zh-Hans" sz="1400" dirty="0"/>
                        <a:t>shell</a:t>
                      </a:r>
                      <a:r>
                        <a:rPr lang="zh-Hans" altLang="en-US" sz="1400" dirty="0"/>
                        <a:t>插件配置覆盖率获取，并推送</a:t>
                      </a:r>
                      <a:r>
                        <a:rPr lang="en-US" altLang="zh-Hans" sz="1400" dirty="0"/>
                        <a:t>COV</a:t>
                      </a:r>
                      <a:r>
                        <a:rPr lang="zh-Hans" altLang="en-US" sz="1400" dirty="0"/>
                        <a:t>平台</a:t>
                      </a:r>
                      <a:endParaRPr lang="en-US" altLang="zh-Hans" sz="1400" dirty="0"/>
                    </a:p>
                    <a:p>
                      <a:r>
                        <a:rPr lang="en" altLang="zh-CN" sz="1400" dirty="0">
                          <a:hlinkClick r:id="rId3"/>
                        </a:rPr>
                        <a:t>http://itp.baidu.com</a:t>
                      </a:r>
                      <a:endParaRPr lang="en-US" altLang="zh-Hans" sz="1400" dirty="0"/>
                    </a:p>
                    <a:p>
                      <a:r>
                        <a:rPr lang="en" altLang="zh-CN" sz="1400" dirty="0">
                          <a:hlinkClick r:id="rId4"/>
                        </a:rPr>
                        <a:t>http://agroup.baidu.com/itp/md/article/1338510</a:t>
                      </a:r>
                      <a:r>
                        <a:rPr lang="zh-Hans" altLang="en-US" sz="1400" dirty="0"/>
                        <a:t> （</a:t>
                      </a:r>
                      <a:r>
                        <a:rPr lang="en-US" altLang="zh-Hans" sz="1400" dirty="0"/>
                        <a:t>Agile</a:t>
                      </a:r>
                      <a:r>
                        <a:rPr lang="zh-Hans" altLang="en-US" sz="1400" dirty="0"/>
                        <a:t>插件说明）</a:t>
                      </a:r>
                      <a:endParaRPr lang="en-US" altLang="zh-Han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400" dirty="0"/>
                        <a:t>贴吧：</a:t>
                      </a:r>
                      <a:r>
                        <a:rPr lang="en-US" altLang="zh-Hans" sz="1400" dirty="0" err="1"/>
                        <a:t>Pdiff</a:t>
                      </a:r>
                      <a:r>
                        <a:rPr lang="zh-Hans" altLang="en-US" sz="1400" dirty="0"/>
                        <a:t>（历史的用例居多），</a:t>
                      </a:r>
                      <a:r>
                        <a:rPr lang="en-US" altLang="zh-Hans" sz="1400" dirty="0"/>
                        <a:t>robot+</a:t>
                      </a:r>
                      <a:r>
                        <a:rPr lang="zh-Hans" altLang="en-US" sz="1400" dirty="0"/>
                        <a:t>（</a:t>
                      </a:r>
                      <a:r>
                        <a:rPr lang="en-US" altLang="zh-Hans" sz="1400" dirty="0"/>
                        <a:t>Q3</a:t>
                      </a:r>
                      <a:r>
                        <a:rPr lang="zh-Hans" altLang="en-US" sz="1400" dirty="0"/>
                        <a:t>根据部门要求开始）</a:t>
                      </a:r>
                      <a:endParaRPr lang="en-US" altLang="zh-Han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400" dirty="0"/>
                        <a:t>小程序：</a:t>
                      </a:r>
                      <a:r>
                        <a:rPr lang="en-US" altLang="zh-Hans" sz="1400" dirty="0"/>
                        <a:t>robot+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  <a:p>
                      <a:endParaRPr lang="en-US" altLang="zh-Han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5653390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压力测试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压力云，已支持相关协议，详见：</a:t>
                      </a:r>
                      <a:endParaRPr lang="en" altLang="zh-CN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hlinkClick r:id="rId5"/>
                      </a:endParaRPr>
                    </a:p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://</a:t>
                      </a:r>
                      <a:r>
                        <a:rPr lang="en" altLang="zh-CN" sz="1400" dirty="0">
                          <a:hlinkClick r:id="rId5"/>
                        </a:rPr>
                        <a:t>wiki.baidu.com/pages/viewpage.action?pageId=489556202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贴吧：可支持其协议的测试，但还未使用</a:t>
                      </a:r>
                      <a:r>
                        <a:rPr lang="zh-CN" altLang="en-US" sz="1400" dirty="0"/>
                        <a:t>，</a:t>
                      </a:r>
                      <a:endParaRPr lang="en-US" altLang="zh-CN" sz="1400" dirty="0"/>
                    </a:p>
                    <a:p>
                      <a:r>
                        <a:rPr lang="zh-Hans" altLang="en-US" sz="1400" dirty="0"/>
                        <a:t>但</a:t>
                      </a:r>
                      <a:r>
                        <a:rPr lang="zh-Hans" altLang="en-US" sz="1400" dirty="0">
                          <a:solidFill>
                            <a:srgbClr val="FF0000"/>
                          </a:solidFill>
                        </a:rPr>
                        <a:t>长链接接口，目前压力云不支持</a:t>
                      </a:r>
                      <a:endParaRPr lang="en-US" altLang="zh-Han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73460"/>
                  </a:ext>
                </a:extLst>
              </a:tr>
              <a:tr h="391667">
                <a:tc>
                  <a:txBody>
                    <a:bodyPr/>
                    <a:lstStyle/>
                    <a:p>
                      <a:r>
                        <a:rPr lang="zh-Hans" altLang="en-US" sz="1400" dirty="0"/>
                        <a:t>环境基础能力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b="1" dirty="0"/>
                        <a:t>建议与线上一致</a:t>
                      </a:r>
                      <a:endParaRPr kumimoji="1" lang="en-US" altLang="zh-Hans" sz="14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若使用</a:t>
                      </a:r>
                      <a:r>
                        <a:rPr kumimoji="1" lang="en-US" altLang="zh-Hans" sz="1400" dirty="0"/>
                        <a:t>Opera</a:t>
                      </a:r>
                      <a:r>
                        <a:rPr kumimoji="1" lang="zh-Hans" altLang="en-US" sz="1400" dirty="0"/>
                        <a:t>或潘多拉部署，建议直接使用</a:t>
                      </a:r>
                      <a:r>
                        <a:rPr kumimoji="1" lang="en-US" altLang="zh-Hans" sz="1400" dirty="0"/>
                        <a:t>XSTP</a:t>
                      </a:r>
                      <a:r>
                        <a:rPr kumimoji="1" lang="zh-Hans" altLang="en-US" sz="1400" dirty="0"/>
                        <a:t>，目前小程序已开始使用</a:t>
                      </a:r>
                      <a:r>
                        <a:rPr kumimoji="1" lang="en-US" altLang="zh-Hans" sz="1400" dirty="0"/>
                        <a:t>XSTP</a:t>
                      </a:r>
                      <a:r>
                        <a:rPr kumimoji="1" lang="zh-Hans" altLang="en-US" sz="1400" dirty="0"/>
                        <a:t>；</a:t>
                      </a:r>
                      <a:endParaRPr kumimoji="1" lang="en-US" altLang="zh-Han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若使用</a:t>
                      </a:r>
                      <a:r>
                        <a:rPr kumimoji="1" lang="en-US" altLang="zh-Hans" sz="1400" dirty="0" err="1"/>
                        <a:t>orcp</a:t>
                      </a:r>
                      <a:r>
                        <a:rPr kumimoji="1" lang="zh-Hans" altLang="en-US" sz="1400" dirty="0"/>
                        <a:t>部署，则建议仍然采用</a:t>
                      </a:r>
                      <a:r>
                        <a:rPr kumimoji="1" lang="en-US" altLang="zh-Hans" sz="1400" dirty="0" err="1"/>
                        <a:t>otp</a:t>
                      </a:r>
                      <a:r>
                        <a:rPr kumimoji="1" lang="zh-Hans" altLang="en-US" sz="1400" dirty="0"/>
                        <a:t>部署</a:t>
                      </a:r>
                      <a:endParaRPr kumimoji="1" lang="en-US" altLang="zh-C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贴吧：活跃模块</a:t>
                      </a:r>
                      <a:r>
                        <a:rPr kumimoji="1" lang="en-US" altLang="zh-Hans" sz="1400" dirty="0" err="1"/>
                        <a:t>otp</a:t>
                      </a:r>
                      <a:r>
                        <a:rPr kumimoji="1" lang="zh-Hans" altLang="en-US" sz="1400" dirty="0"/>
                        <a:t>部署，稳定模块物理机部署</a:t>
                      </a:r>
                      <a:endParaRPr kumimoji="1" lang="en-US" altLang="zh-Han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小程序：使用</a:t>
                      </a:r>
                      <a:r>
                        <a:rPr kumimoji="1" lang="en-US" altLang="zh-Hans" sz="1400" dirty="0" err="1"/>
                        <a:t>xstp</a:t>
                      </a:r>
                      <a:r>
                        <a:rPr kumimoji="1" lang="zh-Hans" altLang="en-US" sz="1400" dirty="0"/>
                        <a:t>，已跑出覆盖率并与</a:t>
                      </a:r>
                      <a:r>
                        <a:rPr kumimoji="1" lang="en-US" altLang="zh-Hans" sz="1400" dirty="0"/>
                        <a:t>Agile</a:t>
                      </a:r>
                      <a:r>
                        <a:rPr kumimoji="1" lang="zh-Hans" altLang="en-US" sz="1400" dirty="0"/>
                        <a:t>打通，</a:t>
                      </a:r>
                      <a:endParaRPr kumimoji="1" lang="en-US" altLang="zh-Han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Hans" altLang="en-US" sz="1400" dirty="0"/>
                        <a:t>（</a:t>
                      </a:r>
                      <a:r>
                        <a:rPr kumimoji="1" lang="zh-CN" altLang="en-US" sz="1400" dirty="0"/>
                        <a:t>环境搭建、</a:t>
                      </a:r>
                      <a:r>
                        <a:rPr kumimoji="1" lang="en" altLang="zh-Hans" sz="1400" dirty="0"/>
                        <a:t>robot+</a:t>
                      </a:r>
                      <a:r>
                        <a:rPr kumimoji="1" lang="zh-CN" altLang="en-US" sz="1400" dirty="0"/>
                        <a:t>发请求，跑出覆盖率报告推</a:t>
                      </a:r>
                      <a:r>
                        <a:rPr kumimoji="1" lang="en" altLang="zh-Hans" sz="1400" dirty="0" err="1"/>
                        <a:t>cov</a:t>
                      </a:r>
                      <a:r>
                        <a:rPr kumimoji="1" lang="zh-Hans" altLang="en-US" sz="1400" dirty="0"/>
                        <a:t>）</a:t>
                      </a:r>
                      <a:endParaRPr kumimoji="1" lang="en-US" altLang="zh-C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979065"/>
                  </a:ext>
                </a:extLst>
              </a:tr>
            </a:tbl>
          </a:graphicData>
        </a:graphic>
      </p:graphicFrame>
      <p:pic>
        <p:nvPicPr>
          <p:cNvPr id="24" name="图片 23">
            <a:extLst>
              <a:ext uri="{FF2B5EF4-FFF2-40B4-BE49-F238E27FC236}">
                <a16:creationId xmlns:a16="http://schemas.microsoft.com/office/drawing/2014/main" id="{E7E9F7AE-B7A8-7049-AAE5-3AD7600A66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950" y="867335"/>
            <a:ext cx="2273300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99845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EECE1"/>
        </a:solidFill>
        <a:ln>
          <a:noFill/>
        </a:ln>
      </a:spPr>
      <a:bodyPr rot="0" spcFirstLastPara="0" vertOverflow="overflow" horzOverflow="overflow" vert="horz" wrap="square" lIns="121917" tIns="60958" rIns="121917" bIns="60958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5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2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2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3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kumimoji="1"/>
        </a:defPPr>
      </a:lstStyle>
    </a:txDef>
  </a:objectDefaults>
  <a:extraClrSchemeLst/>
</a:theme>
</file>

<file path=ppt/theme/theme19.xml><?xml version="1.0" encoding="utf-8"?>
<a:theme xmlns:a="http://schemas.openxmlformats.org/drawingml/2006/main" name="3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3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3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EECE1"/>
        </a:solidFill>
        <a:ln>
          <a:noFill/>
        </a:ln>
      </a:spPr>
      <a:bodyPr rot="0" spcFirstLastPara="0" vertOverflow="overflow" horzOverflow="overflow" vert="horz" wrap="square" lIns="121917" tIns="60958" rIns="121917" bIns="60958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35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2.xml><?xml version="1.0" encoding="utf-8"?>
<a:theme xmlns:a="http://schemas.openxmlformats.org/drawingml/2006/main" name="4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4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4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4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4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kumimoji="1"/>
        </a:defPPr>
      </a:lstStyle>
    </a:txDef>
  </a:objectDefaults>
  <a:extraClrSchemeLst/>
</a:theme>
</file>

<file path=ppt/theme/theme27.xml><?xml version="1.0" encoding="utf-8"?>
<a:theme xmlns:a="http://schemas.openxmlformats.org/drawingml/2006/main" name="5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5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9.xml><?xml version="1.0" encoding="utf-8"?>
<a:theme xmlns:a="http://schemas.openxmlformats.org/drawingml/2006/main" name="5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62_自定义设计方案">
  <a:themeElements>
    <a:clrScheme name="自定义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7F7F7F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6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2.xml><?xml version="1.0" encoding="utf-8"?>
<a:theme xmlns:a="http://schemas.openxmlformats.org/drawingml/2006/main" name="6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6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6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564</TotalTime>
  <Words>1843</Words>
  <Application>Microsoft Macintosh PowerPoint</Application>
  <PresentationFormat>自定义</PresentationFormat>
  <Paragraphs>281</Paragraphs>
  <Slides>18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62" baseType="lpstr">
      <vt:lpstr>黑体</vt:lpstr>
      <vt:lpstr>宋体</vt:lpstr>
      <vt:lpstr>微软雅黑</vt:lpstr>
      <vt:lpstr>Heiti SC Medium</vt:lpstr>
      <vt:lpstr>Lantinghei SC Demibold</vt:lpstr>
      <vt:lpstr>Arial</vt:lpstr>
      <vt:lpstr>Calibri</vt:lpstr>
      <vt:lpstr>Verdana</vt:lpstr>
      <vt:lpstr>Wingdings</vt:lpstr>
      <vt:lpstr>5_自定义设计方案</vt:lpstr>
      <vt:lpstr>6_自定义设计方案</vt:lpstr>
      <vt:lpstr>8_自定义设计方案</vt:lpstr>
      <vt:lpstr>9_自定义设计方案</vt:lpstr>
      <vt:lpstr>10_自定义设计方案</vt:lpstr>
      <vt:lpstr>13_自定义设计方案</vt:lpstr>
      <vt:lpstr>14_自定义设计方案</vt:lpstr>
      <vt:lpstr>15_自定义设计方案</vt:lpstr>
      <vt:lpstr>16_自定义设计方案</vt:lpstr>
      <vt:lpstr>20_自定义设计方案</vt:lpstr>
      <vt:lpstr>21_自定义设计方案</vt:lpstr>
      <vt:lpstr>22_自定义设计方案</vt:lpstr>
      <vt:lpstr>24_自定义设计方案</vt:lpstr>
      <vt:lpstr>25_自定义设计方案</vt:lpstr>
      <vt:lpstr>26_自定义设计方案</vt:lpstr>
      <vt:lpstr>27_自定义设计方案</vt:lpstr>
      <vt:lpstr>29_自定义设计方案</vt:lpstr>
      <vt:lpstr>34_自定义设计方案</vt:lpstr>
      <vt:lpstr>35_自定义设计方案</vt:lpstr>
      <vt:lpstr>37_自定义设计方案</vt:lpstr>
      <vt:lpstr>38_自定义设计方案</vt:lpstr>
      <vt:lpstr>40_自定义设计方案</vt:lpstr>
      <vt:lpstr>42_自定义设计方案</vt:lpstr>
      <vt:lpstr>46_自定义设计方案</vt:lpstr>
      <vt:lpstr>47_自定义设计方案</vt:lpstr>
      <vt:lpstr>49_自定义设计方案</vt:lpstr>
      <vt:lpstr>50_自定义设计方案</vt:lpstr>
      <vt:lpstr>52_自定义设计方案</vt:lpstr>
      <vt:lpstr>59_自定义设计方案</vt:lpstr>
      <vt:lpstr>62_自定义设计方案</vt:lpstr>
      <vt:lpstr>65_自定义设计方案</vt:lpstr>
      <vt:lpstr>66_自定义设计方案</vt:lpstr>
      <vt:lpstr>67_自定义设计方案</vt:lpstr>
      <vt:lpstr>68_自定义设计方案</vt:lpstr>
      <vt:lpstr>think-cell Slide</vt:lpstr>
      <vt:lpstr>PowerPoint 演示文稿</vt:lpstr>
      <vt:lpstr>贴吧-Go语言迁移背景</vt:lpstr>
      <vt:lpstr>贴吧-Go语言迁移案例</vt:lpstr>
      <vt:lpstr>业界及厂内应用情况</vt:lpstr>
      <vt:lpstr>DevOps问题概述</vt:lpstr>
      <vt:lpstr>工程能力</vt:lpstr>
      <vt:lpstr>开发</vt:lpstr>
      <vt:lpstr>代码准入</vt:lpstr>
      <vt:lpstr>测试（1）</vt:lpstr>
      <vt:lpstr>测试（2）</vt:lpstr>
      <vt:lpstr>上线&amp;验证</vt:lpstr>
      <vt:lpstr>需跟进或进行中的工作</vt:lpstr>
      <vt:lpstr>切换Go语言后微服务带来的测试问题</vt:lpstr>
      <vt:lpstr>容灾/可用性/降级/熔断</vt:lpstr>
      <vt:lpstr>自动化</vt:lpstr>
      <vt:lpstr>自动化</vt:lpstr>
      <vt:lpstr>持续交付</vt:lpstr>
      <vt:lpstr>EP调研跟进或与产品线联合跟进的工作</vt:lpstr>
    </vt:vector>
  </TitlesOfParts>
  <Manager/>
  <Company>WwW.YlmF.CoM</Company>
  <LinksUpToDate>false</LinksUpToDate>
  <SharedDoc>false</SharedDoc>
  <HyperlinkBase/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1年8月商业运营月报</dc:title>
  <dc:subject/>
  <dc:creator>afooli</dc:creator>
  <cp:keywords/>
  <dc:description/>
  <cp:lastModifiedBy>Microsoft Office 用户</cp:lastModifiedBy>
  <cp:revision>3797</cp:revision>
  <cp:lastPrinted>2017-12-19T09:49:04Z</cp:lastPrinted>
  <dcterms:created xsi:type="dcterms:W3CDTF">2011-09-01T09:03:30Z</dcterms:created>
  <dcterms:modified xsi:type="dcterms:W3CDTF">2019-12-24T02:51:19Z</dcterms:modified>
  <cp:category/>
</cp:coreProperties>
</file>